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notesSlides/notesSlide3.xml" ContentType="application/vnd.openxmlformats-officedocument.presentationml.notesSlide+xml"/>
  <Override PartName="/ppt/comments/comment5.xml" ContentType="application/vnd.openxmlformats-officedocument.presentationml.comment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665" r:id="rId5"/>
    <p:sldMasterId id="2147483730" r:id="rId6"/>
    <p:sldMasterId id="2147483850" r:id="rId7"/>
    <p:sldMasterId id="2147483852" r:id="rId8"/>
  </p:sldMasterIdLst>
  <p:notesMasterIdLst>
    <p:notesMasterId r:id="rId30"/>
  </p:notesMasterIdLst>
  <p:handoutMasterIdLst>
    <p:handoutMasterId r:id="rId31"/>
  </p:handoutMasterIdLst>
  <p:sldIdLst>
    <p:sldId id="563" r:id="rId9"/>
    <p:sldId id="4549" r:id="rId10"/>
    <p:sldId id="4479" r:id="rId11"/>
    <p:sldId id="4480" r:id="rId12"/>
    <p:sldId id="4544" r:id="rId13"/>
    <p:sldId id="4481" r:id="rId14"/>
    <p:sldId id="4482" r:id="rId15"/>
    <p:sldId id="4504" r:id="rId16"/>
    <p:sldId id="4545" r:id="rId17"/>
    <p:sldId id="4546" r:id="rId18"/>
    <p:sldId id="4495" r:id="rId19"/>
    <p:sldId id="4483" r:id="rId20"/>
    <p:sldId id="4490" r:id="rId21"/>
    <p:sldId id="4547" r:id="rId22"/>
    <p:sldId id="4501" r:id="rId23"/>
    <p:sldId id="4520" r:id="rId24"/>
    <p:sldId id="4518" r:id="rId25"/>
    <p:sldId id="4493" r:id="rId26"/>
    <p:sldId id="4548" r:id="rId27"/>
    <p:sldId id="4550" r:id="rId28"/>
    <p:sldId id="557" r:id="rId29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ogt, Joris van der" initials="Kd" lastIdx="7" clrIdx="0">
    <p:extLst>
      <p:ext uri="{19B8F6BF-5375-455C-9EA6-DF929625EA0E}">
        <p15:presenceInfo xmlns:p15="http://schemas.microsoft.com/office/powerpoint/2012/main" userId="S::joris.vander.krogt@sogeti.com::96aea0cc-af7a-41c2-974a-ddec4d2ff03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useTimings="0">
    <p:kiosk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FFFF"/>
    <a:srgbClr val="88D5ED"/>
    <a:srgbClr val="FF7E83"/>
    <a:srgbClr val="ED8D5B"/>
    <a:srgbClr val="DE5900"/>
    <a:srgbClr val="FF3A45"/>
    <a:srgbClr val="FF6327"/>
    <a:srgbClr val="80B8D6"/>
    <a:srgbClr val="2B0A3D"/>
    <a:srgbClr val="EDED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7CF7B0-4FAB-459F-B785-97254B68D54B}" v="380" dt="2019-02-26T11:22:51.3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emens Reijnen" userId="949b6e0e-692e-44fd-b569-db6729d59b40" providerId="ADAL" clId="{76744CEE-9FC6-4F20-9AC2-5E4C1C341A8A}"/>
    <pc:docChg chg="custSel addSld delSld modSld sldOrd">
      <pc:chgData name="Clemens Reijnen" userId="949b6e0e-692e-44fd-b569-db6729d59b40" providerId="ADAL" clId="{76744CEE-9FC6-4F20-9AC2-5E4C1C341A8A}" dt="2019-02-25T10:00:13.255" v="1448"/>
      <pc:docMkLst>
        <pc:docMk/>
      </pc:docMkLst>
      <pc:sldChg chg="delSp modSp">
        <pc:chgData name="Clemens Reijnen" userId="949b6e0e-692e-44fd-b569-db6729d59b40" providerId="ADAL" clId="{76744CEE-9FC6-4F20-9AC2-5E4C1C341A8A}" dt="2019-02-25T09:45:34.578" v="1418" actId="20577"/>
        <pc:sldMkLst>
          <pc:docMk/>
          <pc:sldMk cId="137500551" sldId="4479"/>
        </pc:sldMkLst>
        <pc:spChg chg="mod">
          <ac:chgData name="Clemens Reijnen" userId="949b6e0e-692e-44fd-b569-db6729d59b40" providerId="ADAL" clId="{76744CEE-9FC6-4F20-9AC2-5E4C1C341A8A}" dt="2019-02-25T09:45:34.578" v="1418" actId="20577"/>
          <ac:spMkLst>
            <pc:docMk/>
            <pc:sldMk cId="137500551" sldId="4479"/>
            <ac:spMk id="2" creationId="{1064F6C1-3E4A-4DCE-9327-880C4D940A5F}"/>
          </ac:spMkLst>
        </pc:spChg>
        <pc:picChg chg="del">
          <ac:chgData name="Clemens Reijnen" userId="949b6e0e-692e-44fd-b569-db6729d59b40" providerId="ADAL" clId="{76744CEE-9FC6-4F20-9AC2-5E4C1C341A8A}" dt="2019-02-25T09:13:33.894" v="51" actId="478"/>
          <ac:picMkLst>
            <pc:docMk/>
            <pc:sldMk cId="137500551" sldId="4479"/>
            <ac:picMk id="71" creationId="{99BF94C6-5C4D-498D-905A-D279C1ADF882}"/>
          </ac:picMkLst>
        </pc:picChg>
      </pc:sldChg>
      <pc:sldChg chg="del">
        <pc:chgData name="Clemens Reijnen" userId="949b6e0e-692e-44fd-b569-db6729d59b40" providerId="ADAL" clId="{76744CEE-9FC6-4F20-9AC2-5E4C1C341A8A}" dt="2019-02-25T09:21:03.054" v="116" actId="2696"/>
        <pc:sldMkLst>
          <pc:docMk/>
          <pc:sldMk cId="3086269688" sldId="4484"/>
        </pc:sldMkLst>
      </pc:sldChg>
      <pc:sldChg chg="addSp modSp">
        <pc:chgData name="Clemens Reijnen" userId="949b6e0e-692e-44fd-b569-db6729d59b40" providerId="ADAL" clId="{76744CEE-9FC6-4F20-9AC2-5E4C1C341A8A}" dt="2019-02-25T09:22:29.454" v="267" actId="14100"/>
        <pc:sldMkLst>
          <pc:docMk/>
          <pc:sldMk cId="2434437667" sldId="4490"/>
        </pc:sldMkLst>
        <pc:spChg chg="add mod">
          <ac:chgData name="Clemens Reijnen" userId="949b6e0e-692e-44fd-b569-db6729d59b40" providerId="ADAL" clId="{76744CEE-9FC6-4F20-9AC2-5E4C1C341A8A}" dt="2019-02-25T09:22:29.454" v="267" actId="14100"/>
          <ac:spMkLst>
            <pc:docMk/>
            <pc:sldMk cId="2434437667" sldId="4490"/>
            <ac:spMk id="4" creationId="{8253F57A-CDE0-469C-B711-826D623A1042}"/>
          </ac:spMkLst>
        </pc:spChg>
      </pc:sldChg>
      <pc:sldChg chg="ord">
        <pc:chgData name="Clemens Reijnen" userId="949b6e0e-692e-44fd-b569-db6729d59b40" providerId="ADAL" clId="{76744CEE-9FC6-4F20-9AC2-5E4C1C341A8A}" dt="2019-02-25T09:20:54.512" v="115"/>
        <pc:sldMkLst>
          <pc:docMk/>
          <pc:sldMk cId="3614233924" sldId="4495"/>
        </pc:sldMkLst>
      </pc:sldChg>
      <pc:sldChg chg="ord">
        <pc:chgData name="Clemens Reijnen" userId="949b6e0e-692e-44fd-b569-db6729d59b40" providerId="ADAL" clId="{76744CEE-9FC6-4F20-9AC2-5E4C1C341A8A}" dt="2019-02-25T09:15:35.954" v="52"/>
        <pc:sldMkLst>
          <pc:docMk/>
          <pc:sldMk cId="2552370505" sldId="4504"/>
        </pc:sldMkLst>
      </pc:sldChg>
      <pc:sldChg chg="modSp">
        <pc:chgData name="Clemens Reijnen" userId="949b6e0e-692e-44fd-b569-db6729d59b40" providerId="ADAL" clId="{76744CEE-9FC6-4F20-9AC2-5E4C1C341A8A}" dt="2019-02-25T09:42:39.054" v="1209" actId="6549"/>
        <pc:sldMkLst>
          <pc:docMk/>
          <pc:sldMk cId="565443391" sldId="4544"/>
        </pc:sldMkLst>
        <pc:spChg chg="mod">
          <ac:chgData name="Clemens Reijnen" userId="949b6e0e-692e-44fd-b569-db6729d59b40" providerId="ADAL" clId="{76744CEE-9FC6-4F20-9AC2-5E4C1C341A8A}" dt="2019-02-25T09:42:39.054" v="1209" actId="6549"/>
          <ac:spMkLst>
            <pc:docMk/>
            <pc:sldMk cId="565443391" sldId="4544"/>
            <ac:spMk id="3" creationId="{ED2ECA29-6AEA-40FB-92B8-C6C57246F03D}"/>
          </ac:spMkLst>
        </pc:spChg>
      </pc:sldChg>
      <pc:sldChg chg="addSp delSp modSp">
        <pc:chgData name="Clemens Reijnen" userId="949b6e0e-692e-44fd-b569-db6729d59b40" providerId="ADAL" clId="{76744CEE-9FC6-4F20-9AC2-5E4C1C341A8A}" dt="2019-02-25T09:20:05.909" v="112"/>
        <pc:sldMkLst>
          <pc:docMk/>
          <pc:sldMk cId="4065173967" sldId="4545"/>
        </pc:sldMkLst>
        <pc:spChg chg="add mod">
          <ac:chgData name="Clemens Reijnen" userId="949b6e0e-692e-44fd-b569-db6729d59b40" providerId="ADAL" clId="{76744CEE-9FC6-4F20-9AC2-5E4C1C341A8A}" dt="2019-02-25T09:20:05.909" v="112"/>
          <ac:spMkLst>
            <pc:docMk/>
            <pc:sldMk cId="4065173967" sldId="4545"/>
            <ac:spMk id="2" creationId="{EECD975F-8611-4F45-B2EA-08489D48C1AA}"/>
          </ac:spMkLst>
        </pc:spChg>
        <pc:spChg chg="add del">
          <ac:chgData name="Clemens Reijnen" userId="949b6e0e-692e-44fd-b569-db6729d59b40" providerId="ADAL" clId="{76744CEE-9FC6-4F20-9AC2-5E4C1C341A8A}" dt="2019-02-25T09:16:18.953" v="63"/>
          <ac:spMkLst>
            <pc:docMk/>
            <pc:sldMk cId="4065173967" sldId="4545"/>
            <ac:spMk id="3" creationId="{96B3BB96-BD70-4C17-9E09-8A3B8A1482C2}"/>
          </ac:spMkLst>
        </pc:spChg>
        <pc:spChg chg="add mod">
          <ac:chgData name="Clemens Reijnen" userId="949b6e0e-692e-44fd-b569-db6729d59b40" providerId="ADAL" clId="{76744CEE-9FC6-4F20-9AC2-5E4C1C341A8A}" dt="2019-02-25T09:19:08.004" v="100" actId="1076"/>
          <ac:spMkLst>
            <pc:docMk/>
            <pc:sldMk cId="4065173967" sldId="4545"/>
            <ac:spMk id="4" creationId="{0F623C94-9FF4-4CDE-81AF-503DC64E670E}"/>
          </ac:spMkLst>
        </pc:spChg>
        <pc:spChg chg="add del mod">
          <ac:chgData name="Clemens Reijnen" userId="949b6e0e-692e-44fd-b569-db6729d59b40" providerId="ADAL" clId="{76744CEE-9FC6-4F20-9AC2-5E4C1C341A8A}" dt="2019-02-25T09:19:01.956" v="98" actId="478"/>
          <ac:spMkLst>
            <pc:docMk/>
            <pc:sldMk cId="4065173967" sldId="4545"/>
            <ac:spMk id="5" creationId="{1F8E47C2-E8E5-4B7D-86ED-CBC33D485876}"/>
          </ac:spMkLst>
        </pc:spChg>
        <pc:spChg chg="add del mod">
          <ac:chgData name="Clemens Reijnen" userId="949b6e0e-692e-44fd-b569-db6729d59b40" providerId="ADAL" clId="{76744CEE-9FC6-4F20-9AC2-5E4C1C341A8A}" dt="2019-02-25T09:19:03.434" v="99" actId="478"/>
          <ac:spMkLst>
            <pc:docMk/>
            <pc:sldMk cId="4065173967" sldId="4545"/>
            <ac:spMk id="6" creationId="{DFE0F563-4271-4855-BB65-AC1256996E9B}"/>
          </ac:spMkLst>
        </pc:spChg>
        <pc:spChg chg="add mod">
          <ac:chgData name="Clemens Reijnen" userId="949b6e0e-692e-44fd-b569-db6729d59b40" providerId="ADAL" clId="{76744CEE-9FC6-4F20-9AC2-5E4C1C341A8A}" dt="2019-02-25T09:19:10.379" v="101" actId="1076"/>
          <ac:spMkLst>
            <pc:docMk/>
            <pc:sldMk cId="4065173967" sldId="4545"/>
            <ac:spMk id="7" creationId="{AF2E52CB-6BB3-4019-B1D3-33BDA36A47CA}"/>
          </ac:spMkLst>
        </pc:spChg>
      </pc:sldChg>
      <pc:sldChg chg="addSp delSp modSp add">
        <pc:chgData name="Clemens Reijnen" userId="949b6e0e-692e-44fd-b569-db6729d59b40" providerId="ADAL" clId="{76744CEE-9FC6-4F20-9AC2-5E4C1C341A8A}" dt="2019-02-25T09:20:42.099" v="114" actId="207"/>
        <pc:sldMkLst>
          <pc:docMk/>
          <pc:sldMk cId="3134729551" sldId="4546"/>
        </pc:sldMkLst>
        <pc:spChg chg="mod">
          <ac:chgData name="Clemens Reijnen" userId="949b6e0e-692e-44fd-b569-db6729d59b40" providerId="ADAL" clId="{76744CEE-9FC6-4F20-9AC2-5E4C1C341A8A}" dt="2019-02-25T09:20:42.099" v="114" actId="207"/>
          <ac:spMkLst>
            <pc:docMk/>
            <pc:sldMk cId="3134729551" sldId="4546"/>
            <ac:spMk id="2" creationId="{EECD975F-8611-4F45-B2EA-08489D48C1AA}"/>
          </ac:spMkLst>
        </pc:spChg>
        <pc:spChg chg="del">
          <ac:chgData name="Clemens Reijnen" userId="949b6e0e-692e-44fd-b569-db6729d59b40" providerId="ADAL" clId="{76744CEE-9FC6-4F20-9AC2-5E4C1C341A8A}" dt="2019-02-25T09:18:47.424" v="91" actId="478"/>
          <ac:spMkLst>
            <pc:docMk/>
            <pc:sldMk cId="3134729551" sldId="4546"/>
            <ac:spMk id="4" creationId="{0F623C94-9FF4-4CDE-81AF-503DC64E670E}"/>
          </ac:spMkLst>
        </pc:spChg>
        <pc:spChg chg="mod">
          <ac:chgData name="Clemens Reijnen" userId="949b6e0e-692e-44fd-b569-db6729d59b40" providerId="ADAL" clId="{76744CEE-9FC6-4F20-9AC2-5E4C1C341A8A}" dt="2019-02-25T09:20:20.044" v="113" actId="6549"/>
          <ac:spMkLst>
            <pc:docMk/>
            <pc:sldMk cId="3134729551" sldId="4546"/>
            <ac:spMk id="5" creationId="{1F8E47C2-E8E5-4B7D-86ED-CBC33D485876}"/>
          </ac:spMkLst>
        </pc:spChg>
        <pc:spChg chg="mod">
          <ac:chgData name="Clemens Reijnen" userId="949b6e0e-692e-44fd-b569-db6729d59b40" providerId="ADAL" clId="{76744CEE-9FC6-4F20-9AC2-5E4C1C341A8A}" dt="2019-02-25T09:19:56.060" v="111" actId="1076"/>
          <ac:spMkLst>
            <pc:docMk/>
            <pc:sldMk cId="3134729551" sldId="4546"/>
            <ac:spMk id="6" creationId="{DFE0F563-4271-4855-BB65-AC1256996E9B}"/>
          </ac:spMkLst>
        </pc:spChg>
        <pc:spChg chg="del">
          <ac:chgData name="Clemens Reijnen" userId="949b6e0e-692e-44fd-b569-db6729d59b40" providerId="ADAL" clId="{76744CEE-9FC6-4F20-9AC2-5E4C1C341A8A}" dt="2019-02-25T09:18:45.884" v="90" actId="478"/>
          <ac:spMkLst>
            <pc:docMk/>
            <pc:sldMk cId="3134729551" sldId="4546"/>
            <ac:spMk id="7" creationId="{AF2E52CB-6BB3-4019-B1D3-33BDA36A47CA}"/>
          </ac:spMkLst>
        </pc:spChg>
        <pc:picChg chg="add mod">
          <ac:chgData name="Clemens Reijnen" userId="949b6e0e-692e-44fd-b569-db6729d59b40" providerId="ADAL" clId="{76744CEE-9FC6-4F20-9AC2-5E4C1C341A8A}" dt="2019-02-25T09:19:53.679" v="110" actId="1076"/>
          <ac:picMkLst>
            <pc:docMk/>
            <pc:sldMk cId="3134729551" sldId="4546"/>
            <ac:picMk id="4098" creationId="{FBFB6742-DFA9-4714-8577-4FDFE5A7858A}"/>
          </ac:picMkLst>
        </pc:picChg>
      </pc:sldChg>
      <pc:sldChg chg="addSp modSp add">
        <pc:chgData name="Clemens Reijnen" userId="949b6e0e-692e-44fd-b569-db6729d59b40" providerId="ADAL" clId="{76744CEE-9FC6-4F20-9AC2-5E4C1C341A8A}" dt="2019-02-25T09:26:38.964" v="501" actId="20577"/>
        <pc:sldMkLst>
          <pc:docMk/>
          <pc:sldMk cId="1033129324" sldId="4547"/>
        </pc:sldMkLst>
        <pc:spChg chg="add mod">
          <ac:chgData name="Clemens Reijnen" userId="949b6e0e-692e-44fd-b569-db6729d59b40" providerId="ADAL" clId="{76744CEE-9FC6-4F20-9AC2-5E4C1C341A8A}" dt="2019-02-25T09:23:17.544" v="292" actId="20577"/>
          <ac:spMkLst>
            <pc:docMk/>
            <pc:sldMk cId="1033129324" sldId="4547"/>
            <ac:spMk id="2" creationId="{10397269-CD4D-4AD8-8E45-C9C89EF19079}"/>
          </ac:spMkLst>
        </pc:spChg>
        <pc:spChg chg="add mod">
          <ac:chgData name="Clemens Reijnen" userId="949b6e0e-692e-44fd-b569-db6729d59b40" providerId="ADAL" clId="{76744CEE-9FC6-4F20-9AC2-5E4C1C341A8A}" dt="2019-02-25T09:25:45.750" v="432" actId="1076"/>
          <ac:spMkLst>
            <pc:docMk/>
            <pc:sldMk cId="1033129324" sldId="4547"/>
            <ac:spMk id="12" creationId="{EC1532ED-CDA3-4463-B59B-CA3DEF5D5504}"/>
          </ac:spMkLst>
        </pc:spChg>
        <pc:spChg chg="add mod">
          <ac:chgData name="Clemens Reijnen" userId="949b6e0e-692e-44fd-b569-db6729d59b40" providerId="ADAL" clId="{76744CEE-9FC6-4F20-9AC2-5E4C1C341A8A}" dt="2019-02-25T09:24:44.780" v="374" actId="313"/>
          <ac:spMkLst>
            <pc:docMk/>
            <pc:sldMk cId="1033129324" sldId="4547"/>
            <ac:spMk id="13" creationId="{7C156EBB-5225-4E0B-A0F6-AD223BC964D5}"/>
          </ac:spMkLst>
        </pc:spChg>
        <pc:spChg chg="add mod">
          <ac:chgData name="Clemens Reijnen" userId="949b6e0e-692e-44fd-b569-db6729d59b40" providerId="ADAL" clId="{76744CEE-9FC6-4F20-9AC2-5E4C1C341A8A}" dt="2019-02-25T09:25:40.174" v="430" actId="1076"/>
          <ac:spMkLst>
            <pc:docMk/>
            <pc:sldMk cId="1033129324" sldId="4547"/>
            <ac:spMk id="14" creationId="{0EA1878C-59F2-44A8-BA92-8548A304868D}"/>
          </ac:spMkLst>
        </pc:spChg>
        <pc:spChg chg="add mod">
          <ac:chgData name="Clemens Reijnen" userId="949b6e0e-692e-44fd-b569-db6729d59b40" providerId="ADAL" clId="{76744CEE-9FC6-4F20-9AC2-5E4C1C341A8A}" dt="2019-02-25T09:26:38.964" v="501" actId="20577"/>
          <ac:spMkLst>
            <pc:docMk/>
            <pc:sldMk cId="1033129324" sldId="4547"/>
            <ac:spMk id="18" creationId="{78E79B93-1D40-4D48-A9B3-D0BB004AF799}"/>
          </ac:spMkLst>
        </pc:spChg>
        <pc:picChg chg="add mod">
          <ac:chgData name="Clemens Reijnen" userId="949b6e0e-692e-44fd-b569-db6729d59b40" providerId="ADAL" clId="{76744CEE-9FC6-4F20-9AC2-5E4C1C341A8A}" dt="2019-02-25T09:23:33.894" v="296" actId="1076"/>
          <ac:picMkLst>
            <pc:docMk/>
            <pc:sldMk cId="1033129324" sldId="4547"/>
            <ac:picMk id="3" creationId="{0036A2BC-11F0-4834-A683-508B4C2A9351}"/>
          </ac:picMkLst>
        </pc:picChg>
        <pc:cxnChg chg="add mod">
          <ac:chgData name="Clemens Reijnen" userId="949b6e0e-692e-44fd-b569-db6729d59b40" providerId="ADAL" clId="{76744CEE-9FC6-4F20-9AC2-5E4C1C341A8A}" dt="2019-02-25T09:25:42.713" v="431" actId="14100"/>
          <ac:cxnSpMkLst>
            <pc:docMk/>
            <pc:sldMk cId="1033129324" sldId="4547"/>
            <ac:cxnSpMk id="5" creationId="{40CE4AFF-FA9C-4A60-B68A-6E26AD47BC26}"/>
          </ac:cxnSpMkLst>
        </pc:cxnChg>
        <pc:cxnChg chg="add mod">
          <ac:chgData name="Clemens Reijnen" userId="949b6e0e-692e-44fd-b569-db6729d59b40" providerId="ADAL" clId="{76744CEE-9FC6-4F20-9AC2-5E4C1C341A8A}" dt="2019-02-25T09:23:56.254" v="304" actId="14100"/>
          <ac:cxnSpMkLst>
            <pc:docMk/>
            <pc:sldMk cId="1033129324" sldId="4547"/>
            <ac:cxnSpMk id="7" creationId="{B8597A1C-0A32-4486-BE55-2534EBD91A77}"/>
          </ac:cxnSpMkLst>
        </pc:cxnChg>
        <pc:cxnChg chg="add mod">
          <ac:chgData name="Clemens Reijnen" userId="949b6e0e-692e-44fd-b569-db6729d59b40" providerId="ADAL" clId="{76744CEE-9FC6-4F20-9AC2-5E4C1C341A8A}" dt="2019-02-25T09:24:02.169" v="307" actId="14100"/>
          <ac:cxnSpMkLst>
            <pc:docMk/>
            <pc:sldMk cId="1033129324" sldId="4547"/>
            <ac:cxnSpMk id="10" creationId="{3C022DAF-D6AB-48F1-B7FD-CB52BEC4E9E5}"/>
          </ac:cxnSpMkLst>
        </pc:cxnChg>
        <pc:cxnChg chg="add mod">
          <ac:chgData name="Clemens Reijnen" userId="949b6e0e-692e-44fd-b569-db6729d59b40" providerId="ADAL" clId="{76744CEE-9FC6-4F20-9AC2-5E4C1C341A8A}" dt="2019-02-25T09:25:59.754" v="435" actId="14100"/>
          <ac:cxnSpMkLst>
            <pc:docMk/>
            <pc:sldMk cId="1033129324" sldId="4547"/>
            <ac:cxnSpMk id="16" creationId="{E9C10B54-37B8-4349-AB60-36FE962FC738}"/>
          </ac:cxnSpMkLst>
        </pc:cxnChg>
      </pc:sldChg>
      <pc:sldChg chg="addSp delSp modSp add">
        <pc:chgData name="Clemens Reijnen" userId="949b6e0e-692e-44fd-b569-db6729d59b40" providerId="ADAL" clId="{76744CEE-9FC6-4F20-9AC2-5E4C1C341A8A}" dt="2019-02-25T09:36:40.292" v="957" actId="552"/>
        <pc:sldMkLst>
          <pc:docMk/>
          <pc:sldMk cId="1378908256" sldId="4548"/>
        </pc:sldMkLst>
        <pc:spChg chg="mod">
          <ac:chgData name="Clemens Reijnen" userId="949b6e0e-692e-44fd-b569-db6729d59b40" providerId="ADAL" clId="{76744CEE-9FC6-4F20-9AC2-5E4C1C341A8A}" dt="2019-02-25T09:35:14.280" v="949" actId="108"/>
          <ac:spMkLst>
            <pc:docMk/>
            <pc:sldMk cId="1378908256" sldId="4548"/>
            <ac:spMk id="2" creationId="{6EAAAA82-E181-451C-9F37-80B882771A04}"/>
          </ac:spMkLst>
        </pc:spChg>
        <pc:spChg chg="add mod">
          <ac:chgData name="Clemens Reijnen" userId="949b6e0e-692e-44fd-b569-db6729d59b40" providerId="ADAL" clId="{76744CEE-9FC6-4F20-9AC2-5E4C1C341A8A}" dt="2019-02-25T09:36:40.292" v="957" actId="552"/>
          <ac:spMkLst>
            <pc:docMk/>
            <pc:sldMk cId="1378908256" sldId="4548"/>
            <ac:spMk id="3" creationId="{0275894A-8D0A-4979-BF04-2C1CB1C339FB}"/>
          </ac:spMkLst>
        </pc:spChg>
        <pc:spChg chg="add del">
          <ac:chgData name="Clemens Reijnen" userId="949b6e0e-692e-44fd-b569-db6729d59b40" providerId="ADAL" clId="{76744CEE-9FC6-4F20-9AC2-5E4C1C341A8A}" dt="2019-02-25T09:29:23.494" v="637"/>
          <ac:spMkLst>
            <pc:docMk/>
            <pc:sldMk cId="1378908256" sldId="4548"/>
            <ac:spMk id="4" creationId="{7F1D2A8D-27EE-4177-B627-6761A5D85F73}"/>
          </ac:spMkLst>
        </pc:spChg>
        <pc:spChg chg="add mod">
          <ac:chgData name="Clemens Reijnen" userId="949b6e0e-692e-44fd-b569-db6729d59b40" providerId="ADAL" clId="{76744CEE-9FC6-4F20-9AC2-5E4C1C341A8A}" dt="2019-02-25T09:36:40.292" v="957" actId="552"/>
          <ac:spMkLst>
            <pc:docMk/>
            <pc:sldMk cId="1378908256" sldId="4548"/>
            <ac:spMk id="5" creationId="{87F81728-91FB-443E-A63D-5AD93A1E7E7D}"/>
          </ac:spMkLst>
        </pc:spChg>
        <pc:spChg chg="add mod">
          <ac:chgData name="Clemens Reijnen" userId="949b6e0e-692e-44fd-b569-db6729d59b40" providerId="ADAL" clId="{76744CEE-9FC6-4F20-9AC2-5E4C1C341A8A}" dt="2019-02-25T09:36:40.292" v="957" actId="552"/>
          <ac:spMkLst>
            <pc:docMk/>
            <pc:sldMk cId="1378908256" sldId="4548"/>
            <ac:spMk id="6" creationId="{C6D27D5D-5BE3-4C7C-952F-DDD1BF02E3FC}"/>
          </ac:spMkLst>
        </pc:spChg>
        <pc:spChg chg="add mod">
          <ac:chgData name="Clemens Reijnen" userId="949b6e0e-692e-44fd-b569-db6729d59b40" providerId="ADAL" clId="{76744CEE-9FC6-4F20-9AC2-5E4C1C341A8A}" dt="2019-02-25T09:36:40.292" v="957" actId="552"/>
          <ac:spMkLst>
            <pc:docMk/>
            <pc:sldMk cId="1378908256" sldId="4548"/>
            <ac:spMk id="7" creationId="{E6EB5D69-6F2D-44C0-94C7-8CA860050DBC}"/>
          </ac:spMkLst>
        </pc:spChg>
        <pc:spChg chg="add mod">
          <ac:chgData name="Clemens Reijnen" userId="949b6e0e-692e-44fd-b569-db6729d59b40" providerId="ADAL" clId="{76744CEE-9FC6-4F20-9AC2-5E4C1C341A8A}" dt="2019-02-25T09:36:40.292" v="957" actId="552"/>
          <ac:spMkLst>
            <pc:docMk/>
            <pc:sldMk cId="1378908256" sldId="4548"/>
            <ac:spMk id="8" creationId="{B1FA1E7E-28A8-4EE3-BAFF-40F9750E7C76}"/>
          </ac:spMkLst>
        </pc:spChg>
        <pc:spChg chg="add mod">
          <ac:chgData name="Clemens Reijnen" userId="949b6e0e-692e-44fd-b569-db6729d59b40" providerId="ADAL" clId="{76744CEE-9FC6-4F20-9AC2-5E4C1C341A8A}" dt="2019-02-25T09:36:40.292" v="957" actId="552"/>
          <ac:spMkLst>
            <pc:docMk/>
            <pc:sldMk cId="1378908256" sldId="4548"/>
            <ac:spMk id="9" creationId="{FC318215-E2F0-4B47-B9C5-BAC221BBE1E7}"/>
          </ac:spMkLst>
        </pc:spChg>
        <pc:spChg chg="add del mod">
          <ac:chgData name="Clemens Reijnen" userId="949b6e0e-692e-44fd-b569-db6729d59b40" providerId="ADAL" clId="{76744CEE-9FC6-4F20-9AC2-5E4C1C341A8A}" dt="2019-02-25T09:33:35.592" v="870"/>
          <ac:spMkLst>
            <pc:docMk/>
            <pc:sldMk cId="1378908256" sldId="4548"/>
            <ac:spMk id="10" creationId="{9B2D1B40-1782-43A2-89B4-62071F88D253}"/>
          </ac:spMkLst>
        </pc:spChg>
        <pc:spChg chg="add mod">
          <ac:chgData name="Clemens Reijnen" userId="949b6e0e-692e-44fd-b569-db6729d59b40" providerId="ADAL" clId="{76744CEE-9FC6-4F20-9AC2-5E4C1C341A8A}" dt="2019-02-25T09:36:40.292" v="957" actId="552"/>
          <ac:spMkLst>
            <pc:docMk/>
            <pc:sldMk cId="1378908256" sldId="4548"/>
            <ac:spMk id="11" creationId="{AB7C800E-4DA7-41DD-9061-458FC3FC8B6C}"/>
          </ac:spMkLst>
        </pc:spChg>
        <pc:spChg chg="add mod">
          <ac:chgData name="Clemens Reijnen" userId="949b6e0e-692e-44fd-b569-db6729d59b40" providerId="ADAL" clId="{76744CEE-9FC6-4F20-9AC2-5E4C1C341A8A}" dt="2019-02-25T09:36:40.292" v="957" actId="552"/>
          <ac:spMkLst>
            <pc:docMk/>
            <pc:sldMk cId="1378908256" sldId="4548"/>
            <ac:spMk id="12" creationId="{5F70FC77-97D7-412B-AD29-67A7033F7868}"/>
          </ac:spMkLst>
        </pc:spChg>
      </pc:sldChg>
      <pc:sldChg chg="delSp modSp add ord">
        <pc:chgData name="Clemens Reijnen" userId="949b6e0e-692e-44fd-b569-db6729d59b40" providerId="ADAL" clId="{76744CEE-9FC6-4F20-9AC2-5E4C1C341A8A}" dt="2019-02-25T09:45:51.565" v="1420"/>
        <pc:sldMkLst>
          <pc:docMk/>
          <pc:sldMk cId="4104842613" sldId="4549"/>
        </pc:sldMkLst>
        <pc:spChg chg="mod">
          <ac:chgData name="Clemens Reijnen" userId="949b6e0e-692e-44fd-b569-db6729d59b40" providerId="ADAL" clId="{76744CEE-9FC6-4F20-9AC2-5E4C1C341A8A}" dt="2019-02-25T09:37:38.130" v="978" actId="20577"/>
          <ac:spMkLst>
            <pc:docMk/>
            <pc:sldMk cId="4104842613" sldId="4549"/>
            <ac:spMk id="2" creationId="{6EAAAA82-E181-451C-9F37-80B882771A04}"/>
          </ac:spMkLst>
        </pc:spChg>
        <pc:spChg chg="mod">
          <ac:chgData name="Clemens Reijnen" userId="949b6e0e-692e-44fd-b569-db6729d59b40" providerId="ADAL" clId="{76744CEE-9FC6-4F20-9AC2-5E4C1C341A8A}" dt="2019-02-25T09:45:45.467" v="1419" actId="1076"/>
          <ac:spMkLst>
            <pc:docMk/>
            <pc:sldMk cId="4104842613" sldId="4549"/>
            <ac:spMk id="3" creationId="{0275894A-8D0A-4979-BF04-2C1CB1C339FB}"/>
          </ac:spMkLst>
        </pc:spChg>
        <pc:spChg chg="del">
          <ac:chgData name="Clemens Reijnen" userId="949b6e0e-692e-44fd-b569-db6729d59b40" providerId="ADAL" clId="{76744CEE-9FC6-4F20-9AC2-5E4C1C341A8A}" dt="2019-02-25T09:37:47.080" v="979" actId="478"/>
          <ac:spMkLst>
            <pc:docMk/>
            <pc:sldMk cId="4104842613" sldId="4549"/>
            <ac:spMk id="5" creationId="{87F81728-91FB-443E-A63D-5AD93A1E7E7D}"/>
          </ac:spMkLst>
        </pc:spChg>
        <pc:spChg chg="del">
          <ac:chgData name="Clemens Reijnen" userId="949b6e0e-692e-44fd-b569-db6729d59b40" providerId="ADAL" clId="{76744CEE-9FC6-4F20-9AC2-5E4C1C341A8A}" dt="2019-02-25T09:37:47.080" v="979" actId="478"/>
          <ac:spMkLst>
            <pc:docMk/>
            <pc:sldMk cId="4104842613" sldId="4549"/>
            <ac:spMk id="6" creationId="{C6D27D5D-5BE3-4C7C-952F-DDD1BF02E3FC}"/>
          </ac:spMkLst>
        </pc:spChg>
        <pc:spChg chg="del">
          <ac:chgData name="Clemens Reijnen" userId="949b6e0e-692e-44fd-b569-db6729d59b40" providerId="ADAL" clId="{76744CEE-9FC6-4F20-9AC2-5E4C1C341A8A}" dt="2019-02-25T09:37:47.080" v="979" actId="478"/>
          <ac:spMkLst>
            <pc:docMk/>
            <pc:sldMk cId="4104842613" sldId="4549"/>
            <ac:spMk id="7" creationId="{E6EB5D69-6F2D-44C0-94C7-8CA860050DBC}"/>
          </ac:spMkLst>
        </pc:spChg>
        <pc:spChg chg="del">
          <ac:chgData name="Clemens Reijnen" userId="949b6e0e-692e-44fd-b569-db6729d59b40" providerId="ADAL" clId="{76744CEE-9FC6-4F20-9AC2-5E4C1C341A8A}" dt="2019-02-25T09:37:47.080" v="979" actId="478"/>
          <ac:spMkLst>
            <pc:docMk/>
            <pc:sldMk cId="4104842613" sldId="4549"/>
            <ac:spMk id="8" creationId="{B1FA1E7E-28A8-4EE3-BAFF-40F9750E7C76}"/>
          </ac:spMkLst>
        </pc:spChg>
        <pc:spChg chg="del">
          <ac:chgData name="Clemens Reijnen" userId="949b6e0e-692e-44fd-b569-db6729d59b40" providerId="ADAL" clId="{76744CEE-9FC6-4F20-9AC2-5E4C1C341A8A}" dt="2019-02-25T09:37:47.080" v="979" actId="478"/>
          <ac:spMkLst>
            <pc:docMk/>
            <pc:sldMk cId="4104842613" sldId="4549"/>
            <ac:spMk id="9" creationId="{FC318215-E2F0-4B47-B9C5-BAC221BBE1E7}"/>
          </ac:spMkLst>
        </pc:spChg>
        <pc:spChg chg="del">
          <ac:chgData name="Clemens Reijnen" userId="949b6e0e-692e-44fd-b569-db6729d59b40" providerId="ADAL" clId="{76744CEE-9FC6-4F20-9AC2-5E4C1C341A8A}" dt="2019-02-25T09:37:47.080" v="979" actId="478"/>
          <ac:spMkLst>
            <pc:docMk/>
            <pc:sldMk cId="4104842613" sldId="4549"/>
            <ac:spMk id="11" creationId="{AB7C800E-4DA7-41DD-9061-458FC3FC8B6C}"/>
          </ac:spMkLst>
        </pc:spChg>
        <pc:spChg chg="del">
          <ac:chgData name="Clemens Reijnen" userId="949b6e0e-692e-44fd-b569-db6729d59b40" providerId="ADAL" clId="{76744CEE-9FC6-4F20-9AC2-5E4C1C341A8A}" dt="2019-02-25T09:37:47.080" v="979" actId="478"/>
          <ac:spMkLst>
            <pc:docMk/>
            <pc:sldMk cId="4104842613" sldId="4549"/>
            <ac:spMk id="12" creationId="{5F70FC77-97D7-412B-AD29-67A7033F7868}"/>
          </ac:spMkLst>
        </pc:spChg>
      </pc:sldChg>
      <pc:sldChg chg="delSp modSp add">
        <pc:chgData name="Clemens Reijnen" userId="949b6e0e-692e-44fd-b569-db6729d59b40" providerId="ADAL" clId="{76744CEE-9FC6-4F20-9AC2-5E4C1C341A8A}" dt="2019-02-25T10:00:13.255" v="1448"/>
        <pc:sldMkLst>
          <pc:docMk/>
          <pc:sldMk cId="1870276546" sldId="4550"/>
        </pc:sldMkLst>
        <pc:spChg chg="mod">
          <ac:chgData name="Clemens Reijnen" userId="949b6e0e-692e-44fd-b569-db6729d59b40" providerId="ADAL" clId="{76744CEE-9FC6-4F20-9AC2-5E4C1C341A8A}" dt="2019-02-25T09:43:05.503" v="1220" actId="20577"/>
          <ac:spMkLst>
            <pc:docMk/>
            <pc:sldMk cId="1870276546" sldId="4550"/>
            <ac:spMk id="2" creationId="{6EAAAA82-E181-451C-9F37-80B882771A04}"/>
          </ac:spMkLst>
        </pc:spChg>
        <pc:spChg chg="mod">
          <ac:chgData name="Clemens Reijnen" userId="949b6e0e-692e-44fd-b569-db6729d59b40" providerId="ADAL" clId="{76744CEE-9FC6-4F20-9AC2-5E4C1C341A8A}" dt="2019-02-25T09:44:03.048" v="1308" actId="1076"/>
          <ac:spMkLst>
            <pc:docMk/>
            <pc:sldMk cId="1870276546" sldId="4550"/>
            <ac:spMk id="3" creationId="{0275894A-8D0A-4979-BF04-2C1CB1C339FB}"/>
          </ac:spMkLst>
        </pc:spChg>
        <pc:spChg chg="mod">
          <ac:chgData name="Clemens Reijnen" userId="949b6e0e-692e-44fd-b569-db6729d59b40" providerId="ADAL" clId="{76744CEE-9FC6-4F20-9AC2-5E4C1C341A8A}" dt="2019-02-25T10:00:13.255" v="1448"/>
          <ac:spMkLst>
            <pc:docMk/>
            <pc:sldMk cId="1870276546" sldId="4550"/>
            <ac:spMk id="5" creationId="{87F81728-91FB-443E-A63D-5AD93A1E7E7D}"/>
          </ac:spMkLst>
        </pc:spChg>
        <pc:spChg chg="mod">
          <ac:chgData name="Clemens Reijnen" userId="949b6e0e-692e-44fd-b569-db6729d59b40" providerId="ADAL" clId="{76744CEE-9FC6-4F20-9AC2-5E4C1C341A8A}" dt="2019-02-25T09:45:15.983" v="1413" actId="14100"/>
          <ac:spMkLst>
            <pc:docMk/>
            <pc:sldMk cId="1870276546" sldId="4550"/>
            <ac:spMk id="6" creationId="{C6D27D5D-5BE3-4C7C-952F-DDD1BF02E3FC}"/>
          </ac:spMkLst>
        </pc:spChg>
        <pc:spChg chg="mod">
          <ac:chgData name="Clemens Reijnen" userId="949b6e0e-692e-44fd-b569-db6729d59b40" providerId="ADAL" clId="{76744CEE-9FC6-4F20-9AC2-5E4C1C341A8A}" dt="2019-02-25T09:43:56.100" v="1307" actId="1076"/>
          <ac:spMkLst>
            <pc:docMk/>
            <pc:sldMk cId="1870276546" sldId="4550"/>
            <ac:spMk id="7" creationId="{E6EB5D69-6F2D-44C0-94C7-8CA860050DBC}"/>
          </ac:spMkLst>
        </pc:spChg>
        <pc:spChg chg="del">
          <ac:chgData name="Clemens Reijnen" userId="949b6e0e-692e-44fd-b569-db6729d59b40" providerId="ADAL" clId="{76744CEE-9FC6-4F20-9AC2-5E4C1C341A8A}" dt="2019-02-25T09:43:50.210" v="1306" actId="478"/>
          <ac:spMkLst>
            <pc:docMk/>
            <pc:sldMk cId="1870276546" sldId="4550"/>
            <ac:spMk id="8" creationId="{B1FA1E7E-28A8-4EE3-BAFF-40F9750E7C76}"/>
          </ac:spMkLst>
        </pc:spChg>
        <pc:spChg chg="del">
          <ac:chgData name="Clemens Reijnen" userId="949b6e0e-692e-44fd-b569-db6729d59b40" providerId="ADAL" clId="{76744CEE-9FC6-4F20-9AC2-5E4C1C341A8A}" dt="2019-02-25T09:43:48.111" v="1305" actId="478"/>
          <ac:spMkLst>
            <pc:docMk/>
            <pc:sldMk cId="1870276546" sldId="4550"/>
            <ac:spMk id="9" creationId="{FC318215-E2F0-4B47-B9C5-BAC221BBE1E7}"/>
          </ac:spMkLst>
        </pc:spChg>
        <pc:spChg chg="del">
          <ac:chgData name="Clemens Reijnen" userId="949b6e0e-692e-44fd-b569-db6729d59b40" providerId="ADAL" clId="{76744CEE-9FC6-4F20-9AC2-5E4C1C341A8A}" dt="2019-02-25T09:43:48.111" v="1305" actId="478"/>
          <ac:spMkLst>
            <pc:docMk/>
            <pc:sldMk cId="1870276546" sldId="4550"/>
            <ac:spMk id="11" creationId="{AB7C800E-4DA7-41DD-9061-458FC3FC8B6C}"/>
          </ac:spMkLst>
        </pc:spChg>
        <pc:spChg chg="del">
          <ac:chgData name="Clemens Reijnen" userId="949b6e0e-692e-44fd-b569-db6729d59b40" providerId="ADAL" clId="{76744CEE-9FC6-4F20-9AC2-5E4C1C341A8A}" dt="2019-02-25T09:43:48.111" v="1305" actId="478"/>
          <ac:spMkLst>
            <pc:docMk/>
            <pc:sldMk cId="1870276546" sldId="4550"/>
            <ac:spMk id="12" creationId="{5F70FC77-97D7-412B-AD29-67A7033F7868}"/>
          </ac:spMkLst>
        </pc:spChg>
      </pc:sldChg>
    </pc:docChg>
  </pc:docChgLst>
  <pc:docChgLst>
    <pc:chgData name="Krogt, Joris van der" userId="S::joris.vander.krogt@sogeti.com::96aea0cc-af7a-41c2-974a-ddec4d2ff03b" providerId="AD" clId="Web-{4E2DAC74-FEC8-4792-A97F-D70D3E574C39}"/>
    <pc:docChg chg="">
      <pc:chgData name="Krogt, Joris van der" userId="S::joris.vander.krogt@sogeti.com::96aea0cc-af7a-41c2-974a-ddec4d2ff03b" providerId="AD" clId="Web-{4E2DAC74-FEC8-4792-A97F-D70D3E574C39}" dt="2019-02-25T10:16:56.152" v="0"/>
      <pc:docMkLst>
        <pc:docMk/>
      </pc:docMkLst>
      <pc:sldChg chg="addCm">
        <pc:chgData name="Krogt, Joris van der" userId="S::joris.vander.krogt@sogeti.com::96aea0cc-af7a-41c2-974a-ddec4d2ff03b" providerId="AD" clId="Web-{4E2DAC74-FEC8-4792-A97F-D70D3E574C39}" dt="2019-02-25T10:16:56.152" v="0"/>
        <pc:sldMkLst>
          <pc:docMk/>
          <pc:sldMk cId="4104842613" sldId="4549"/>
        </pc:sldMkLst>
      </pc:sldChg>
    </pc:docChg>
  </pc:docChgLst>
  <pc:docChgLst>
    <pc:chgData name="Krogt, Joris van der" userId="S::joris.vander.krogt@sogeti.com::96aea0cc-af7a-41c2-974a-ddec4d2ff03b" providerId="AD" clId="Web-{EAD7F9A2-064C-40E6-98B9-3C803F302DA1}"/>
    <pc:docChg chg="">
      <pc:chgData name="Krogt, Joris van der" userId="S::joris.vander.krogt@sogeti.com::96aea0cc-af7a-41c2-974a-ddec4d2ff03b" providerId="AD" clId="Web-{EAD7F9A2-064C-40E6-98B9-3C803F302DA1}" dt="2019-02-25T11:45:40.864" v="5"/>
      <pc:docMkLst>
        <pc:docMk/>
      </pc:docMkLst>
      <pc:sldChg chg="addCm">
        <pc:chgData name="Krogt, Joris van der" userId="S::joris.vander.krogt@sogeti.com::96aea0cc-af7a-41c2-974a-ddec4d2ff03b" providerId="AD" clId="Web-{EAD7F9A2-064C-40E6-98B9-3C803F302DA1}" dt="2019-02-25T11:45:40.864" v="5"/>
        <pc:sldMkLst>
          <pc:docMk/>
          <pc:sldMk cId="1545407803" sldId="557"/>
        </pc:sldMkLst>
      </pc:sldChg>
      <pc:sldChg chg="addCm">
        <pc:chgData name="Krogt, Joris van der" userId="S::joris.vander.krogt@sogeti.com::96aea0cc-af7a-41c2-974a-ddec4d2ff03b" providerId="AD" clId="Web-{EAD7F9A2-064C-40E6-98B9-3C803F302DA1}" dt="2019-02-25T11:43:17.379" v="4"/>
        <pc:sldMkLst>
          <pc:docMk/>
          <pc:sldMk cId="390479841" sldId="4518"/>
        </pc:sldMkLst>
      </pc:sldChg>
      <pc:sldChg chg="addCm">
        <pc:chgData name="Krogt, Joris van der" userId="S::joris.vander.krogt@sogeti.com::96aea0cc-af7a-41c2-974a-ddec4d2ff03b" providerId="AD" clId="Web-{EAD7F9A2-064C-40E6-98B9-3C803F302DA1}" dt="2019-02-25T11:41:03.503" v="2"/>
        <pc:sldMkLst>
          <pc:docMk/>
          <pc:sldMk cId="1378908256" sldId="4548"/>
        </pc:sldMkLst>
      </pc:sldChg>
      <pc:sldChg chg="addCm">
        <pc:chgData name="Krogt, Joris van der" userId="S::joris.vander.krogt@sogeti.com::96aea0cc-af7a-41c2-974a-ddec4d2ff03b" providerId="AD" clId="Web-{EAD7F9A2-064C-40E6-98B9-3C803F302DA1}" dt="2019-02-25T11:42:38.316" v="3"/>
        <pc:sldMkLst>
          <pc:docMk/>
          <pc:sldMk cId="1870276546" sldId="4550"/>
        </pc:sldMkLst>
      </pc:sldChg>
    </pc:docChg>
  </pc:docChgLst>
  <pc:docChgLst>
    <pc:chgData name="Clemens Reijnen" userId="949b6e0e-692e-44fd-b569-db6729d59b40" providerId="ADAL" clId="{8B7CF7B0-4FAB-459F-B785-97254B68D54B}"/>
    <pc:docChg chg="modSld">
      <pc:chgData name="Clemens Reijnen" userId="949b6e0e-692e-44fd-b569-db6729d59b40" providerId="ADAL" clId="{8B7CF7B0-4FAB-459F-B785-97254B68D54B}" dt="2019-02-26T11:22:51.337" v="238" actId="1076"/>
      <pc:docMkLst>
        <pc:docMk/>
      </pc:docMkLst>
      <pc:sldChg chg="modSp modCm">
        <pc:chgData name="Clemens Reijnen" userId="949b6e0e-692e-44fd-b569-db6729d59b40" providerId="ADAL" clId="{8B7CF7B0-4FAB-459F-B785-97254B68D54B}" dt="2019-02-26T11:10:18.922" v="4" actId="1076"/>
        <pc:sldMkLst>
          <pc:docMk/>
          <pc:sldMk cId="390479841" sldId="4518"/>
        </pc:sldMkLst>
        <pc:spChg chg="mod">
          <ac:chgData name="Clemens Reijnen" userId="949b6e0e-692e-44fd-b569-db6729d59b40" providerId="ADAL" clId="{8B7CF7B0-4FAB-459F-B785-97254B68D54B}" dt="2019-02-26T11:08:12.917" v="1" actId="1076"/>
          <ac:spMkLst>
            <pc:docMk/>
            <pc:sldMk cId="390479841" sldId="4518"/>
            <ac:spMk id="4" creationId="{B9A37B85-6BC1-460E-9B66-186BA5CCE88C}"/>
          </ac:spMkLst>
        </pc:spChg>
        <pc:spChg chg="mod">
          <ac:chgData name="Clemens Reijnen" userId="949b6e0e-692e-44fd-b569-db6729d59b40" providerId="ADAL" clId="{8B7CF7B0-4FAB-459F-B785-97254B68D54B}" dt="2019-02-26T11:08:12.917" v="1" actId="1076"/>
          <ac:spMkLst>
            <pc:docMk/>
            <pc:sldMk cId="390479841" sldId="4518"/>
            <ac:spMk id="5" creationId="{8C5B8DD5-1691-46D9-8749-CCE2A8448E1D}"/>
          </ac:spMkLst>
        </pc:spChg>
        <pc:spChg chg="mod">
          <ac:chgData name="Clemens Reijnen" userId="949b6e0e-692e-44fd-b569-db6729d59b40" providerId="ADAL" clId="{8B7CF7B0-4FAB-459F-B785-97254B68D54B}" dt="2019-02-26T11:08:12.917" v="1" actId="1076"/>
          <ac:spMkLst>
            <pc:docMk/>
            <pc:sldMk cId="390479841" sldId="4518"/>
            <ac:spMk id="12" creationId="{AEC456BC-6F71-4507-804F-275C8FA8F649}"/>
          </ac:spMkLst>
        </pc:spChg>
        <pc:spChg chg="mod">
          <ac:chgData name="Clemens Reijnen" userId="949b6e0e-692e-44fd-b569-db6729d59b40" providerId="ADAL" clId="{8B7CF7B0-4FAB-459F-B785-97254B68D54B}" dt="2019-02-26T11:08:12.917" v="1" actId="1076"/>
          <ac:spMkLst>
            <pc:docMk/>
            <pc:sldMk cId="390479841" sldId="4518"/>
            <ac:spMk id="13" creationId="{8A257275-677F-4213-AC68-BF934137A8CB}"/>
          </ac:spMkLst>
        </pc:spChg>
        <pc:spChg chg="mod">
          <ac:chgData name="Clemens Reijnen" userId="949b6e0e-692e-44fd-b569-db6729d59b40" providerId="ADAL" clId="{8B7CF7B0-4FAB-459F-B785-97254B68D54B}" dt="2019-02-26T11:08:12.917" v="1" actId="1076"/>
          <ac:spMkLst>
            <pc:docMk/>
            <pc:sldMk cId="390479841" sldId="4518"/>
            <ac:spMk id="14" creationId="{59B666CA-836D-4AC3-9BB0-699CA981F060}"/>
          </ac:spMkLst>
        </pc:spChg>
        <pc:spChg chg="mod">
          <ac:chgData name="Clemens Reijnen" userId="949b6e0e-692e-44fd-b569-db6729d59b40" providerId="ADAL" clId="{8B7CF7B0-4FAB-459F-B785-97254B68D54B}" dt="2019-02-26T11:08:12.917" v="1" actId="1076"/>
          <ac:spMkLst>
            <pc:docMk/>
            <pc:sldMk cId="390479841" sldId="4518"/>
            <ac:spMk id="15" creationId="{ECBDD46A-A13B-46B4-9C23-FC63EADE64E1}"/>
          </ac:spMkLst>
        </pc:spChg>
        <pc:spChg chg="mod">
          <ac:chgData name="Clemens Reijnen" userId="949b6e0e-692e-44fd-b569-db6729d59b40" providerId="ADAL" clId="{8B7CF7B0-4FAB-459F-B785-97254B68D54B}" dt="2019-02-26T11:08:12.917" v="1" actId="1076"/>
          <ac:spMkLst>
            <pc:docMk/>
            <pc:sldMk cId="390479841" sldId="4518"/>
            <ac:spMk id="16" creationId="{9F279D7D-9171-4D3D-979C-E5EB2E7541F7}"/>
          </ac:spMkLst>
        </pc:spChg>
        <pc:spChg chg="mod">
          <ac:chgData name="Clemens Reijnen" userId="949b6e0e-692e-44fd-b569-db6729d59b40" providerId="ADAL" clId="{8B7CF7B0-4FAB-459F-B785-97254B68D54B}" dt="2019-02-26T11:08:12.917" v="1" actId="1076"/>
          <ac:spMkLst>
            <pc:docMk/>
            <pc:sldMk cId="390479841" sldId="4518"/>
            <ac:spMk id="17" creationId="{9E0269B9-7D52-418B-84E1-57C3A43C9439}"/>
          </ac:spMkLst>
        </pc:spChg>
        <pc:spChg chg="mod">
          <ac:chgData name="Clemens Reijnen" userId="949b6e0e-692e-44fd-b569-db6729d59b40" providerId="ADAL" clId="{8B7CF7B0-4FAB-459F-B785-97254B68D54B}" dt="2019-02-26T11:08:12.917" v="1" actId="1076"/>
          <ac:spMkLst>
            <pc:docMk/>
            <pc:sldMk cId="390479841" sldId="4518"/>
            <ac:spMk id="18" creationId="{A2FDD027-3680-4F4B-8BE2-BF62FA653E65}"/>
          </ac:spMkLst>
        </pc:spChg>
        <pc:spChg chg="mod">
          <ac:chgData name="Clemens Reijnen" userId="949b6e0e-692e-44fd-b569-db6729d59b40" providerId="ADAL" clId="{8B7CF7B0-4FAB-459F-B785-97254B68D54B}" dt="2019-02-26T11:08:12.917" v="1" actId="1076"/>
          <ac:spMkLst>
            <pc:docMk/>
            <pc:sldMk cId="390479841" sldId="4518"/>
            <ac:spMk id="20" creationId="{D645A11A-544B-423D-85AF-DCFACEFFFE5F}"/>
          </ac:spMkLst>
        </pc:spChg>
        <pc:spChg chg="mod">
          <ac:chgData name="Clemens Reijnen" userId="949b6e0e-692e-44fd-b569-db6729d59b40" providerId="ADAL" clId="{8B7CF7B0-4FAB-459F-B785-97254B68D54B}" dt="2019-02-26T11:08:12.917" v="1" actId="1076"/>
          <ac:spMkLst>
            <pc:docMk/>
            <pc:sldMk cId="390479841" sldId="4518"/>
            <ac:spMk id="38" creationId="{EA4A787E-920B-4A56-B22F-2C62C1CACDEC}"/>
          </ac:spMkLst>
        </pc:spChg>
        <pc:grpChg chg="mod">
          <ac:chgData name="Clemens Reijnen" userId="949b6e0e-692e-44fd-b569-db6729d59b40" providerId="ADAL" clId="{8B7CF7B0-4FAB-459F-B785-97254B68D54B}" dt="2019-02-26T11:08:12.917" v="1" actId="1076"/>
          <ac:grpSpMkLst>
            <pc:docMk/>
            <pc:sldMk cId="390479841" sldId="4518"/>
            <ac:grpSpMk id="26" creationId="{B5D18A57-1D71-463E-BB52-284BED6EC519}"/>
          </ac:grpSpMkLst>
        </pc:grpChg>
        <pc:grpChg chg="mod">
          <ac:chgData name="Clemens Reijnen" userId="949b6e0e-692e-44fd-b569-db6729d59b40" providerId="ADAL" clId="{8B7CF7B0-4FAB-459F-B785-97254B68D54B}" dt="2019-02-26T11:08:12.917" v="1" actId="1076"/>
          <ac:grpSpMkLst>
            <pc:docMk/>
            <pc:sldMk cId="390479841" sldId="4518"/>
            <ac:grpSpMk id="29" creationId="{56654EDE-6307-475A-AACD-EFB46076B1E0}"/>
          </ac:grpSpMkLst>
        </pc:grpChg>
        <pc:grpChg chg="mod">
          <ac:chgData name="Clemens Reijnen" userId="949b6e0e-692e-44fd-b569-db6729d59b40" providerId="ADAL" clId="{8B7CF7B0-4FAB-459F-B785-97254B68D54B}" dt="2019-02-26T11:08:12.917" v="1" actId="1076"/>
          <ac:grpSpMkLst>
            <pc:docMk/>
            <pc:sldMk cId="390479841" sldId="4518"/>
            <ac:grpSpMk id="32" creationId="{7F414ACD-2E44-4E58-A239-F1C690F530FD}"/>
          </ac:grpSpMkLst>
        </pc:grpChg>
        <pc:grpChg chg="mod">
          <ac:chgData name="Clemens Reijnen" userId="949b6e0e-692e-44fd-b569-db6729d59b40" providerId="ADAL" clId="{8B7CF7B0-4FAB-459F-B785-97254B68D54B}" dt="2019-02-26T11:08:12.917" v="1" actId="1076"/>
          <ac:grpSpMkLst>
            <pc:docMk/>
            <pc:sldMk cId="390479841" sldId="4518"/>
            <ac:grpSpMk id="35" creationId="{4213C5F5-5C7F-441C-82ED-5CE24DBEA004}"/>
          </ac:grpSpMkLst>
        </pc:grpChg>
        <pc:picChg chg="mod">
          <ac:chgData name="Clemens Reijnen" userId="949b6e0e-692e-44fd-b569-db6729d59b40" providerId="ADAL" clId="{8B7CF7B0-4FAB-459F-B785-97254B68D54B}" dt="2019-02-26T11:08:12.917" v="1" actId="1076"/>
          <ac:picMkLst>
            <pc:docMk/>
            <pc:sldMk cId="390479841" sldId="4518"/>
            <ac:picMk id="8" creationId="{20C87E9E-D7D1-4562-9F7F-7A458C2A2854}"/>
          </ac:picMkLst>
        </pc:picChg>
        <pc:picChg chg="mod">
          <ac:chgData name="Clemens Reijnen" userId="949b6e0e-692e-44fd-b569-db6729d59b40" providerId="ADAL" clId="{8B7CF7B0-4FAB-459F-B785-97254B68D54B}" dt="2019-02-26T11:08:12.917" v="1" actId="1076"/>
          <ac:picMkLst>
            <pc:docMk/>
            <pc:sldMk cId="390479841" sldId="4518"/>
            <ac:picMk id="11" creationId="{0CAA7EEF-C581-40AE-A485-43DFD6FDA3DA}"/>
          </ac:picMkLst>
        </pc:picChg>
        <pc:picChg chg="mod">
          <ac:chgData name="Clemens Reijnen" userId="949b6e0e-692e-44fd-b569-db6729d59b40" providerId="ADAL" clId="{8B7CF7B0-4FAB-459F-B785-97254B68D54B}" dt="2019-02-26T11:08:12.917" v="1" actId="1076"/>
          <ac:picMkLst>
            <pc:docMk/>
            <pc:sldMk cId="390479841" sldId="4518"/>
            <ac:picMk id="19" creationId="{E50C7B5F-01D7-4555-A0EC-8496054EAF60}"/>
          </ac:picMkLst>
        </pc:picChg>
        <pc:picChg chg="mod">
          <ac:chgData name="Clemens Reijnen" userId="949b6e0e-692e-44fd-b569-db6729d59b40" providerId="ADAL" clId="{8B7CF7B0-4FAB-459F-B785-97254B68D54B}" dt="2019-02-26T11:08:12.917" v="1" actId="1076"/>
          <ac:picMkLst>
            <pc:docMk/>
            <pc:sldMk cId="390479841" sldId="4518"/>
            <ac:picMk id="22" creationId="{90081E0F-2D46-42CA-A61F-833E31472A09}"/>
          </ac:picMkLst>
        </pc:picChg>
        <pc:picChg chg="mod">
          <ac:chgData name="Clemens Reijnen" userId="949b6e0e-692e-44fd-b569-db6729d59b40" providerId="ADAL" clId="{8B7CF7B0-4FAB-459F-B785-97254B68D54B}" dt="2019-02-26T11:08:12.917" v="1" actId="1076"/>
          <ac:picMkLst>
            <pc:docMk/>
            <pc:sldMk cId="390479841" sldId="4518"/>
            <ac:picMk id="24" creationId="{CB795E3B-BF35-41E0-9C18-835AEEEFC881}"/>
          </ac:picMkLst>
        </pc:picChg>
        <pc:picChg chg="mod">
          <ac:chgData name="Clemens Reijnen" userId="949b6e0e-692e-44fd-b569-db6729d59b40" providerId="ADAL" clId="{8B7CF7B0-4FAB-459F-B785-97254B68D54B}" dt="2019-02-26T11:08:12.917" v="1" actId="1076"/>
          <ac:picMkLst>
            <pc:docMk/>
            <pc:sldMk cId="390479841" sldId="4518"/>
            <ac:picMk id="25" creationId="{539075CA-4654-4CC9-9EC1-3E521322A07B}"/>
          </ac:picMkLst>
        </pc:picChg>
        <pc:cxnChg chg="mod">
          <ac:chgData name="Clemens Reijnen" userId="949b6e0e-692e-44fd-b569-db6729d59b40" providerId="ADAL" clId="{8B7CF7B0-4FAB-459F-B785-97254B68D54B}" dt="2019-02-26T11:10:18.922" v="4" actId="1076"/>
          <ac:cxnSpMkLst>
            <pc:docMk/>
            <pc:sldMk cId="390479841" sldId="4518"/>
            <ac:cxnSpMk id="7" creationId="{F19370D4-965B-4086-A775-25C338D51179}"/>
          </ac:cxnSpMkLst>
        </pc:cxnChg>
        <pc:cxnChg chg="mod">
          <ac:chgData name="Clemens Reijnen" userId="949b6e0e-692e-44fd-b569-db6729d59b40" providerId="ADAL" clId="{8B7CF7B0-4FAB-459F-B785-97254B68D54B}" dt="2019-02-26T11:08:12.917" v="1" actId="1076"/>
          <ac:cxnSpMkLst>
            <pc:docMk/>
            <pc:sldMk cId="390479841" sldId="4518"/>
            <ac:cxnSpMk id="9" creationId="{39E3A01E-A37A-4D0D-ADBA-CD991BE9DFBE}"/>
          </ac:cxnSpMkLst>
        </pc:cxnChg>
      </pc:sldChg>
      <pc:sldChg chg="modSp">
        <pc:chgData name="Clemens Reijnen" userId="949b6e0e-692e-44fd-b569-db6729d59b40" providerId="ADAL" clId="{8B7CF7B0-4FAB-459F-B785-97254B68D54B}" dt="2019-02-26T11:07:47.319" v="0" actId="20577"/>
        <pc:sldMkLst>
          <pc:docMk/>
          <pc:sldMk cId="4104842613" sldId="4549"/>
        </pc:sldMkLst>
        <pc:spChg chg="mod">
          <ac:chgData name="Clemens Reijnen" userId="949b6e0e-692e-44fd-b569-db6729d59b40" providerId="ADAL" clId="{8B7CF7B0-4FAB-459F-B785-97254B68D54B}" dt="2019-02-26T11:07:47.319" v="0" actId="20577"/>
          <ac:spMkLst>
            <pc:docMk/>
            <pc:sldMk cId="4104842613" sldId="4549"/>
            <ac:spMk id="3" creationId="{0275894A-8D0A-4979-BF04-2C1CB1C339FB}"/>
          </ac:spMkLst>
        </pc:spChg>
      </pc:sldChg>
      <pc:sldChg chg="modSp">
        <pc:chgData name="Clemens Reijnen" userId="949b6e0e-692e-44fd-b569-db6729d59b40" providerId="ADAL" clId="{8B7CF7B0-4FAB-459F-B785-97254B68D54B}" dt="2019-02-26T11:22:51.337" v="238" actId="1076"/>
        <pc:sldMkLst>
          <pc:docMk/>
          <pc:sldMk cId="1870276546" sldId="4550"/>
        </pc:sldMkLst>
        <pc:spChg chg="mod">
          <ac:chgData name="Clemens Reijnen" userId="949b6e0e-692e-44fd-b569-db6729d59b40" providerId="ADAL" clId="{8B7CF7B0-4FAB-459F-B785-97254B68D54B}" dt="2019-02-26T11:18:15.037" v="60" actId="20577"/>
          <ac:spMkLst>
            <pc:docMk/>
            <pc:sldMk cId="1870276546" sldId="4550"/>
            <ac:spMk id="5" creationId="{87F81728-91FB-443E-A63D-5AD93A1E7E7D}"/>
          </ac:spMkLst>
        </pc:spChg>
        <pc:spChg chg="mod">
          <ac:chgData name="Clemens Reijnen" userId="949b6e0e-692e-44fd-b569-db6729d59b40" providerId="ADAL" clId="{8B7CF7B0-4FAB-459F-B785-97254B68D54B}" dt="2019-02-26T11:22:51.337" v="238" actId="1076"/>
          <ac:spMkLst>
            <pc:docMk/>
            <pc:sldMk cId="1870276546" sldId="4550"/>
            <ac:spMk id="6" creationId="{C6D27D5D-5BE3-4C7C-952F-DDD1BF02E3FC}"/>
          </ac:spMkLst>
        </pc:spChg>
        <pc:spChg chg="mod">
          <ac:chgData name="Clemens Reijnen" userId="949b6e0e-692e-44fd-b569-db6729d59b40" providerId="ADAL" clId="{8B7CF7B0-4FAB-459F-B785-97254B68D54B}" dt="2019-02-26T11:22:46.383" v="237" actId="1076"/>
          <ac:spMkLst>
            <pc:docMk/>
            <pc:sldMk cId="1870276546" sldId="4550"/>
            <ac:spMk id="7" creationId="{E6EB5D69-6F2D-44C0-94C7-8CA860050DBC}"/>
          </ac:spMkLst>
        </pc:spChg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2-25T02:16:56.152" idx="1">
    <p:pos x="10" y="10"/>
    <p:text>With support? What kind of support do you have in mind?
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2-25T03:38:43.627" idx="2">
    <p:pos x="10" y="10"/>
    <p:text>This is an important one. What Git technique needs to be used for what use case. The pro's and con's of the different options are important.
How to implement 1.1/1.2/2.1/2,2....</p:text>
    <p:extLst mod="1">
      <p:ext uri="{C676402C-5697-4E1C-873F-D02D1690AC5C}">
        <p15:threadingInfo xmlns:p15="http://schemas.microsoft.com/office/powerpoint/2012/main" timeZoneBias="480"/>
      </p:ext>
    </p:extLst>
  </p:cm>
  <p:cm authorId="1" dt="2019-02-25T03:43:17.379" idx="6">
    <p:pos x="10" y="146"/>
    <p:text>Do we do a short demo on this?</p:text>
    <p:extLst mod="1">
      <p:ext uri="{C676402C-5697-4E1C-873F-D02D1690AC5C}">
        <p15:threadingInfo xmlns:p15="http://schemas.microsoft.com/office/powerpoint/2012/main" timeZoneBias="480">
          <p15:parentCm authorId="1" idx="2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2-25T03:40:44.003" idx="3">
    <p:pos x="7193" y="250"/>
    <p:text>Add also a slide with Needed Tools.
What tools are needed on your workspace. 
What online products/tools/services are needed...
</p:text>
    <p:extLst>
      <p:ext uri="{C676402C-5697-4E1C-873F-D02D1690AC5C}">
        <p15:threadingInfo xmlns:p15="http://schemas.microsoft.com/office/powerpoint/2012/main" timeZoneBias="480"/>
      </p:ext>
    </p:extLst>
  </p:cm>
  <p:cm authorId="1" dt="2019-02-25T03:41:03.503" idx="4">
    <p:pos x="7193" y="386"/>
    <p:text>Oo a separate slide
</p:text>
    <p:extLst>
      <p:ext uri="{C676402C-5697-4E1C-873F-D02D1690AC5C}">
        <p15:threadingInfo xmlns:p15="http://schemas.microsoft.com/office/powerpoint/2012/main" timeZoneBias="480">
          <p15:parentCm authorId="1" idx="3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2-25T03:42:38.316" idx="5">
    <p:pos x="7193" y="250"/>
    <p:text>I will add some details tomorrow
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2-25T03:45:40.864" idx="7">
    <p:pos x="10" y="10"/>
    <p:text>I miss some concrete details on DevOps/VSTS.
Practical guidance on how to use DevOps.
Some guidance on creating reasles/pipelines.
</p:text>
    <p:extLst>
      <p:ext uri="{C676402C-5697-4E1C-873F-D02D1690AC5C}">
        <p15:threadingInfo xmlns:p15="http://schemas.microsoft.com/office/powerpoint/2012/main" timeZoneBias="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6/02/2019</a:t>
            </a:fld>
            <a:endParaRPr lang="pt-PT" sz="10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</a:t>
            </a:r>
            <a:r>
              <a:rPr lang="pt-PT"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ogeti 2018.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pt-PT" sz="10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t>26/02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blog/author/jstaten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azure.microsoft.com/en-us/blog/iaas-isn-t-your-only-path-to-outsized-gains/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5566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hlinkClick r:id="rId3"/>
              </a:rPr>
              <a:t>James Staten</a:t>
            </a:r>
            <a:r>
              <a:rPr lang="en-US" sz="1200"/>
              <a:t> Chief Strategist, Cloud + Enterprise, </a:t>
            </a:r>
            <a:r>
              <a:rPr lang="en-US" sz="1200">
                <a:hlinkClick r:id="rId4"/>
              </a:rPr>
              <a:t>IaaS isn’t your only path to outsized gains</a:t>
            </a:r>
            <a:endParaRPr lang="en-US" sz="1200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89848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6810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9.png"/><Relationship Id="rId3" Type="http://schemas.openxmlformats.org/officeDocument/2006/relationships/hyperlink" Target="http://www.capgemini.com/about/how-we-work/rightshorer" TargetMode="External"/><Relationship Id="rId7" Type="http://schemas.openxmlformats.org/officeDocument/2006/relationships/image" Target="../media/image7.png"/><Relationship Id="rId12" Type="http://schemas.openxmlformats.org/officeDocument/2006/relationships/hyperlink" Target="http://www.youtube.com/capgeminimedia" TargetMode="External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hyperlink" Target="http://www.linkedin.com/company/capgemini" TargetMode="External"/><Relationship Id="rId11" Type="http://schemas.microsoft.com/office/2007/relationships/hdphoto" Target="../media/hdphoto2.wdp"/><Relationship Id="rId5" Type="http://schemas.openxmlformats.org/officeDocument/2006/relationships/hyperlink" Target="https://www.sogeti.com/" TargetMode="External"/><Relationship Id="rId10" Type="http://schemas.openxmlformats.org/officeDocument/2006/relationships/image" Target="../media/image8.png"/><Relationship Id="rId4" Type="http://schemas.openxmlformats.org/officeDocument/2006/relationships/hyperlink" Target="http://www.capgemini.com/" TargetMode="External"/><Relationship Id="rId9" Type="http://schemas.openxmlformats.org/officeDocument/2006/relationships/hyperlink" Target="http://www.twitter.com/capgemini" TargetMode="External"/><Relationship Id="rId14" Type="http://schemas.microsoft.com/office/2007/relationships/hdphoto" Target="../media/hdphoto3.wdp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2.emf"/><Relationship Id="rId7" Type="http://schemas.openxmlformats.org/officeDocument/2006/relationships/image" Target="../media/image11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10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2.emf"/><Relationship Id="rId7" Type="http://schemas.openxmlformats.org/officeDocument/2006/relationships/image" Target="../media/image11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10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1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6.sv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869612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11376025" cy="50391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/>
              <a:t>Click to insert text</a:t>
            </a:r>
            <a:endParaRPr lang="pt-PT" sz="160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/>
              <a:t>Click to insert text</a:t>
            </a:r>
            <a:endParaRPr lang="pt-PT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  <p:transition spd="slow" advClick="0" advTm="20000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1295400" y="1"/>
            <a:ext cx="10896600" cy="5568105"/>
          </a:xfrm>
          <a:custGeom>
            <a:avLst/>
            <a:gdLst>
              <a:gd name="connsiteX0" fmla="*/ 0 w 10896600"/>
              <a:gd name="connsiteY0" fmla="*/ 0 h 5568105"/>
              <a:gd name="connsiteX1" fmla="*/ 10896600 w 10896600"/>
              <a:gd name="connsiteY1" fmla="*/ 0 h 5568105"/>
              <a:gd name="connsiteX2" fmla="*/ 10896600 w 10896600"/>
              <a:gd name="connsiteY2" fmla="*/ 80960 h 5568105"/>
              <a:gd name="connsiteX3" fmla="*/ 10896600 w 10896600"/>
              <a:gd name="connsiteY3" fmla="*/ 5568105 h 5568105"/>
              <a:gd name="connsiteX4" fmla="*/ 10451841 w 10896600"/>
              <a:gd name="connsiteY4" fmla="*/ 5493803 h 5568105"/>
              <a:gd name="connsiteX5" fmla="*/ 0 w 10896600"/>
              <a:gd name="connsiteY5" fmla="*/ 3246176 h 5568105"/>
              <a:gd name="connsiteX6" fmla="*/ 0 w 10896600"/>
              <a:gd name="connsiteY6" fmla="*/ 191975 h 5568105"/>
              <a:gd name="connsiteX7" fmla="*/ 0 w 10896600"/>
              <a:gd name="connsiteY7" fmla="*/ 0 h 5568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96600" h="5568105">
                <a:moveTo>
                  <a:pt x="0" y="0"/>
                </a:moveTo>
                <a:lnTo>
                  <a:pt x="10896600" y="0"/>
                </a:lnTo>
                <a:lnTo>
                  <a:pt x="10896600" y="80960"/>
                </a:lnTo>
                <a:cubicBezTo>
                  <a:pt x="10896600" y="1513754"/>
                  <a:pt x="10896600" y="3311770"/>
                  <a:pt x="10896600" y="5568105"/>
                </a:cubicBezTo>
                <a:cubicBezTo>
                  <a:pt x="10748347" y="5549530"/>
                  <a:pt x="10600094" y="5530954"/>
                  <a:pt x="10451841" y="5493803"/>
                </a:cubicBezTo>
                <a:cubicBezTo>
                  <a:pt x="6356350" y="4787937"/>
                  <a:pt x="2872403" y="4026344"/>
                  <a:pt x="0" y="3246176"/>
                </a:cubicBezTo>
                <a:cubicBezTo>
                  <a:pt x="0" y="3246176"/>
                  <a:pt x="0" y="3246176"/>
                  <a:pt x="0" y="19197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816081" y="1442183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6081" y="2356582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241387"/>
      </p:ext>
    </p:extLst>
  </p:cSld>
  <p:clrMapOvr>
    <a:masterClrMapping/>
  </p:clrMapOvr>
  <p:transition spd="slow" advClick="0" advTm="20000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0" y="0"/>
            <a:ext cx="12192000" cy="5873580"/>
          </a:xfrm>
          <a:custGeom>
            <a:avLst/>
            <a:gdLst>
              <a:gd name="connsiteX0" fmla="*/ 0 w 12192000"/>
              <a:gd name="connsiteY0" fmla="*/ 0 h 5873580"/>
              <a:gd name="connsiteX1" fmla="*/ 12192000 w 12192000"/>
              <a:gd name="connsiteY1" fmla="*/ 0 h 5873580"/>
              <a:gd name="connsiteX2" fmla="*/ 12192000 w 12192000"/>
              <a:gd name="connsiteY2" fmla="*/ 448624 h 5873580"/>
              <a:gd name="connsiteX3" fmla="*/ 12192000 w 12192000"/>
              <a:gd name="connsiteY3" fmla="*/ 2347836 h 5873580"/>
              <a:gd name="connsiteX4" fmla="*/ 0 w 12192000"/>
              <a:gd name="connsiteY4" fmla="*/ 4899184 h 5873580"/>
              <a:gd name="connsiteX5" fmla="*/ 0 w 12192000"/>
              <a:gd name="connsiteY5" fmla="*/ 176498 h 5873580"/>
              <a:gd name="connsiteX6" fmla="*/ 0 w 12192000"/>
              <a:gd name="connsiteY6" fmla="*/ 0 h 5873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73580">
                <a:moveTo>
                  <a:pt x="0" y="0"/>
                </a:moveTo>
                <a:lnTo>
                  <a:pt x="12192000" y="0"/>
                </a:lnTo>
                <a:lnTo>
                  <a:pt x="12192000" y="448624"/>
                </a:lnTo>
                <a:cubicBezTo>
                  <a:pt x="12192000" y="1051556"/>
                  <a:pt x="12192000" y="1684140"/>
                  <a:pt x="12192000" y="2347836"/>
                </a:cubicBezTo>
                <a:cubicBezTo>
                  <a:pt x="12192000" y="7979192"/>
                  <a:pt x="1443790" y="5266946"/>
                  <a:pt x="0" y="4899184"/>
                </a:cubicBezTo>
                <a:cubicBezTo>
                  <a:pt x="0" y="4899184"/>
                  <a:pt x="0" y="4899184"/>
                  <a:pt x="0" y="1764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902619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817018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110666"/>
      </p:ext>
    </p:extLst>
  </p:cSld>
  <p:clrMapOvr>
    <a:masterClrMapping/>
  </p:clrMapOvr>
  <p:transition spd="slow" advClick="0" advTm="20000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>
          <a:xfrm>
            <a:off x="0" y="0"/>
            <a:ext cx="6309360" cy="4765196"/>
          </a:xfrm>
          <a:custGeom>
            <a:avLst/>
            <a:gdLst>
              <a:gd name="connsiteX0" fmla="*/ 0 w 6309360"/>
              <a:gd name="connsiteY0" fmla="*/ 0 h 4765196"/>
              <a:gd name="connsiteX1" fmla="*/ 6309360 w 6309360"/>
              <a:gd name="connsiteY1" fmla="*/ 0 h 4765196"/>
              <a:gd name="connsiteX2" fmla="*/ 6309360 w 6309360"/>
              <a:gd name="connsiteY2" fmla="*/ 56339 h 4765196"/>
              <a:gd name="connsiteX3" fmla="*/ 6309360 w 6309360"/>
              <a:gd name="connsiteY3" fmla="*/ 4765196 h 4765196"/>
              <a:gd name="connsiteX4" fmla="*/ 6030064 w 6309360"/>
              <a:gd name="connsiteY4" fmla="*/ 4718537 h 4765196"/>
              <a:gd name="connsiteX5" fmla="*/ 161022 w 6309360"/>
              <a:gd name="connsiteY5" fmla="*/ 3490219 h 4765196"/>
              <a:gd name="connsiteX6" fmla="*/ 0 w 6309360"/>
              <a:gd name="connsiteY6" fmla="*/ 3448369 h 4765196"/>
              <a:gd name="connsiteX7" fmla="*/ 0 w 6309360"/>
              <a:gd name="connsiteY7" fmla="*/ 0 h 4765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09360" h="4765196">
                <a:moveTo>
                  <a:pt x="0" y="0"/>
                </a:moveTo>
                <a:lnTo>
                  <a:pt x="6309360" y="0"/>
                </a:lnTo>
                <a:lnTo>
                  <a:pt x="6309360" y="56339"/>
                </a:lnTo>
                <a:cubicBezTo>
                  <a:pt x="6309360" y="1086668"/>
                  <a:pt x="6309360" y="2585327"/>
                  <a:pt x="6309360" y="4765196"/>
                </a:cubicBezTo>
                <a:cubicBezTo>
                  <a:pt x="6216261" y="4753531"/>
                  <a:pt x="6123163" y="4741867"/>
                  <a:pt x="6030064" y="4718537"/>
                </a:cubicBezTo>
                <a:cubicBezTo>
                  <a:pt x="3779692" y="4330681"/>
                  <a:pt x="1823345" y="3916032"/>
                  <a:pt x="161022" y="3490219"/>
                </a:cubicBezTo>
                <a:lnTo>
                  <a:pt x="0" y="34483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" y="228600"/>
            <a:ext cx="4176384" cy="697992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3570847"/>
            <a:ext cx="5261187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96523434"/>
      </p:ext>
    </p:extLst>
  </p:cSld>
  <p:clrMapOvr>
    <a:masterClrMapping/>
  </p:clrMapOvr>
  <p:transition spd="slow" advClick="0" advTm="20000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5837769" y="2731746"/>
            <a:ext cx="6354232" cy="4126254"/>
          </a:xfrm>
          <a:custGeom>
            <a:avLst/>
            <a:gdLst>
              <a:gd name="connsiteX0" fmla="*/ 3218905 w 6354232"/>
              <a:gd name="connsiteY0" fmla="*/ 0 h 4126254"/>
              <a:gd name="connsiteX1" fmla="*/ 6338060 w 6354232"/>
              <a:gd name="connsiteY1" fmla="*/ 0 h 4126254"/>
              <a:gd name="connsiteX2" fmla="*/ 6354232 w 6354232"/>
              <a:gd name="connsiteY2" fmla="*/ 0 h 4126254"/>
              <a:gd name="connsiteX3" fmla="*/ 6354232 w 6354232"/>
              <a:gd name="connsiteY3" fmla="*/ 4126254 h 4126254"/>
              <a:gd name="connsiteX4" fmla="*/ 0 w 6354232"/>
              <a:gd name="connsiteY4" fmla="*/ 4126254 h 4126254"/>
              <a:gd name="connsiteX5" fmla="*/ 18928 w 6354232"/>
              <a:gd name="connsiteY5" fmla="*/ 4013385 h 4126254"/>
              <a:gd name="connsiteX6" fmla="*/ 273133 w 6354232"/>
              <a:gd name="connsiteY6" fmla="*/ 2497612 h 4126254"/>
              <a:gd name="connsiteX7" fmla="*/ 3218905 w 6354232"/>
              <a:gd name="connsiteY7" fmla="*/ 0 h 412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54232" h="4126254">
                <a:moveTo>
                  <a:pt x="3218905" y="0"/>
                </a:moveTo>
                <a:cubicBezTo>
                  <a:pt x="3218905" y="0"/>
                  <a:pt x="3218905" y="0"/>
                  <a:pt x="6338060" y="0"/>
                </a:cubicBezTo>
                <a:lnTo>
                  <a:pt x="6354232" y="0"/>
                </a:lnTo>
                <a:lnTo>
                  <a:pt x="6354232" y="4126254"/>
                </a:lnTo>
                <a:lnTo>
                  <a:pt x="0" y="4126254"/>
                </a:lnTo>
                <a:lnTo>
                  <a:pt x="18928" y="4013385"/>
                </a:lnTo>
                <a:cubicBezTo>
                  <a:pt x="86797" y="3608700"/>
                  <a:pt x="170327" y="3110626"/>
                  <a:pt x="273133" y="2497612"/>
                </a:cubicBezTo>
                <a:cubicBezTo>
                  <a:pt x="509655" y="1050498"/>
                  <a:pt x="1756770" y="0"/>
                  <a:pt x="321890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1443355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8400" y="838200"/>
            <a:ext cx="4147523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956469"/>
      </p:ext>
    </p:extLst>
  </p:cSld>
  <p:clrMapOvr>
    <a:masterClrMapping/>
  </p:clrMapOvr>
  <p:transition spd="slow" advClick="0" advTm="20000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 userDrawn="1"/>
        </p:nvSpPr>
        <p:spPr>
          <a:xfrm>
            <a:off x="1" y="0"/>
            <a:ext cx="7037465" cy="6858000"/>
          </a:xfrm>
          <a:custGeom>
            <a:avLst/>
            <a:gdLst>
              <a:gd name="connsiteX0" fmla="*/ 0 w 7037465"/>
              <a:gd name="connsiteY0" fmla="*/ 0 h 6858000"/>
              <a:gd name="connsiteX1" fmla="*/ 7037465 w 7037465"/>
              <a:gd name="connsiteY1" fmla="*/ 0 h 6858000"/>
              <a:gd name="connsiteX2" fmla="*/ 7037465 w 7037465"/>
              <a:gd name="connsiteY2" fmla="*/ 114293 h 6858000"/>
              <a:gd name="connsiteX3" fmla="*/ 7037465 w 7037465"/>
              <a:gd name="connsiteY3" fmla="*/ 2657010 h 6858000"/>
              <a:gd name="connsiteX4" fmla="*/ 3733176 w 7037465"/>
              <a:gd name="connsiteY4" fmla="*/ 6564069 h 6858000"/>
              <a:gd name="connsiteX5" fmla="*/ 2097225 w 7037465"/>
              <a:gd name="connsiteY5" fmla="*/ 6832749 h 6858000"/>
              <a:gd name="connsiteX6" fmla="*/ 1943476 w 7037465"/>
              <a:gd name="connsiteY6" fmla="*/ 6858000 h 6858000"/>
              <a:gd name="connsiteX7" fmla="*/ 0 w 7037465"/>
              <a:gd name="connsiteY7" fmla="*/ 6858000 h 6858000"/>
              <a:gd name="connsiteX8" fmla="*/ 0 w 703746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37465" h="6858000">
                <a:moveTo>
                  <a:pt x="0" y="0"/>
                </a:moveTo>
                <a:lnTo>
                  <a:pt x="7037465" y="0"/>
                </a:lnTo>
                <a:lnTo>
                  <a:pt x="7037465" y="114293"/>
                </a:lnTo>
                <a:cubicBezTo>
                  <a:pt x="7037465" y="2657010"/>
                  <a:pt x="7037465" y="2657010"/>
                  <a:pt x="7037465" y="2657010"/>
                </a:cubicBezTo>
                <a:cubicBezTo>
                  <a:pt x="7037465" y="4603435"/>
                  <a:pt x="5647678" y="6251504"/>
                  <a:pt x="3733176" y="6564069"/>
                </a:cubicBezTo>
                <a:cubicBezTo>
                  <a:pt x="3099579" y="6668128"/>
                  <a:pt x="2558794" y="6756943"/>
                  <a:pt x="2097225" y="6832749"/>
                </a:cubicBezTo>
                <a:lnTo>
                  <a:pt x="194347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407988" y="2317233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>
                <a:solidFill>
                  <a:schemeClr val="bg1"/>
                </a:solidFill>
              </a:rPr>
              <a:t>About </a:t>
            </a:r>
            <a:r>
              <a:rPr lang="en-US" sz="1600" err="1">
                <a:solidFill>
                  <a:schemeClr val="bg1"/>
                </a:solidFill>
              </a:rPr>
              <a:t>Sogeti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07988" y="4048433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>
                <a:solidFill>
                  <a:schemeClr val="bg1"/>
                </a:solidFill>
              </a:rPr>
              <a:t>Learn more about us at</a:t>
            </a: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>
                <a:solidFill>
                  <a:schemeClr val="bg1"/>
                </a:solidFill>
              </a:rPr>
              <a:t>www.sogeti.co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305799" y="5764024"/>
            <a:ext cx="3512821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err="1">
                <a:solidFill>
                  <a:schemeClr val="tx1"/>
                </a:solidFill>
                <a:latin typeface="+mn-lt"/>
                <a:cs typeface="Arial"/>
              </a:rPr>
              <a:t>Capgemini</a:t>
            </a: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>
                <a:solidFill>
                  <a:schemeClr val="tx1"/>
                </a:solidFill>
                <a:latin typeface="+mn-lt"/>
                <a:cs typeface="Arial"/>
              </a:rPr>
              <a:t>©</a:t>
            </a: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 2018 </a:t>
            </a:r>
            <a:r>
              <a:rPr lang="en-US" sz="800" noProof="0" err="1">
                <a:solidFill>
                  <a:schemeClr val="tx1"/>
                </a:solidFill>
                <a:latin typeface="+mn-lt"/>
                <a:cs typeface="Arial"/>
              </a:rPr>
              <a:t>Sogeti</a:t>
            </a: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. All rights reserved.</a:t>
            </a:r>
          </a:p>
        </p:txBody>
      </p:sp>
      <p:sp>
        <p:nvSpPr>
          <p:cNvPr id="26" name="Rectangle 25">
            <a:hlinkClick r:id="rId3"/>
          </p:cNvPr>
          <p:cNvSpPr/>
          <p:nvPr userDrawn="1"/>
        </p:nvSpPr>
        <p:spPr>
          <a:xfrm>
            <a:off x="10730865" y="3812094"/>
            <a:ext cx="704850" cy="124676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hlinkClick r:id="rId4"/>
          </p:cNvPr>
          <p:cNvSpPr/>
          <p:nvPr userDrawn="1"/>
        </p:nvSpPr>
        <p:spPr>
          <a:xfrm>
            <a:off x="6532245" y="4445639"/>
            <a:ext cx="1851660" cy="183449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hlinkClick r:id="rId5"/>
          </p:cNvPr>
          <p:cNvSpPr/>
          <p:nvPr userDrawn="1"/>
        </p:nvSpPr>
        <p:spPr>
          <a:xfrm>
            <a:off x="407989" y="4235890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21" name="Picture 2" descr="D:\My Work\Template\Icons\Social Media\LinkedIN.png">
            <a:hlinkClick r:id="rId6"/>
            <a:extLst>
              <a:ext uri="{FF2B5EF4-FFF2-40B4-BE49-F238E27FC236}">
                <a16:creationId xmlns:a16="http://schemas.microsoft.com/office/drawing/2014/main" id="{08F614DE-51DA-4BFF-8E53-D2741450B8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0684065" y="5181600"/>
            <a:ext cx="333195" cy="333195"/>
          </a:xfrm>
          <a:prstGeom prst="rect">
            <a:avLst/>
          </a:prstGeom>
          <a:noFill/>
        </p:spPr>
      </p:pic>
      <p:pic>
        <p:nvPicPr>
          <p:cNvPr id="22" name="Picture 5" descr="D:\My Work\Template\Icons\Social Media\Twitter.png">
            <a:hlinkClick r:id="rId9"/>
            <a:extLst>
              <a:ext uri="{FF2B5EF4-FFF2-40B4-BE49-F238E27FC236}">
                <a16:creationId xmlns:a16="http://schemas.microsoft.com/office/drawing/2014/main" id="{407A4AAB-4D4A-41A6-8AB1-41DD0D45E3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25" name="Picture 6" descr="D:\My Work\Template\Icons\Social Media\YouTube.png">
            <a:hlinkClick r:id="rId12"/>
            <a:extLst>
              <a:ext uri="{FF2B5EF4-FFF2-40B4-BE49-F238E27FC236}">
                <a16:creationId xmlns:a16="http://schemas.microsoft.com/office/drawing/2014/main" id="{B8D13D2F-BC30-4A06-B353-FAA883C67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51D6730-9622-4316-9ACE-C0BFBC830794}"/>
              </a:ext>
            </a:extLst>
          </p:cNvPr>
          <p:cNvSpPr/>
          <p:nvPr userDrawn="1"/>
        </p:nvSpPr>
        <p:spPr>
          <a:xfrm>
            <a:off x="401188" y="2708920"/>
            <a:ext cx="52308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err="1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123705"/>
      </p:ext>
    </p:extLst>
  </p:cSld>
  <p:clrMapOvr>
    <a:masterClrMapping/>
  </p:clrMapOvr>
  <p:transition spd="slow" advClick="0" advTm="20000"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7162801" y="2667000"/>
            <a:ext cx="5029201" cy="4191000"/>
          </a:xfrm>
          <a:custGeom>
            <a:avLst/>
            <a:gdLst>
              <a:gd name="connsiteX0" fmla="*/ 5029201 w 5029201"/>
              <a:gd name="connsiteY0" fmla="*/ 0 h 4191000"/>
              <a:gd name="connsiteX1" fmla="*/ 5029201 w 5029201"/>
              <a:gd name="connsiteY1" fmla="*/ 4050815 h 4191000"/>
              <a:gd name="connsiteX2" fmla="*/ 5029201 w 5029201"/>
              <a:gd name="connsiteY2" fmla="*/ 4191000 h 4191000"/>
              <a:gd name="connsiteX3" fmla="*/ 0 w 5029201"/>
              <a:gd name="connsiteY3" fmla="*/ 4191000 h 4191000"/>
              <a:gd name="connsiteX4" fmla="*/ 0 w 5029201"/>
              <a:gd name="connsiteY4" fmla="*/ 4087004 h 4191000"/>
              <a:gd name="connsiteX5" fmla="*/ 0 w 5029201"/>
              <a:gd name="connsiteY5" fmla="*/ 1070904 h 4191000"/>
              <a:gd name="connsiteX6" fmla="*/ 2360645 w 5029201"/>
              <a:gd name="connsiteY6" fmla="*/ 505467 h 4191000"/>
              <a:gd name="connsiteX7" fmla="*/ 5029201 w 5029201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9201" h="4191000">
                <a:moveTo>
                  <a:pt x="5029201" y="0"/>
                </a:moveTo>
                <a:cubicBezTo>
                  <a:pt x="5029201" y="2081302"/>
                  <a:pt x="5029201" y="3317075"/>
                  <a:pt x="5029201" y="4050815"/>
                </a:cubicBezTo>
                <a:lnTo>
                  <a:pt x="5029201" y="4191000"/>
                </a:lnTo>
                <a:lnTo>
                  <a:pt x="0" y="4191000"/>
                </a:lnTo>
                <a:lnTo>
                  <a:pt x="0" y="4087004"/>
                </a:lnTo>
                <a:cubicBezTo>
                  <a:pt x="0" y="1070904"/>
                  <a:pt x="0" y="1070904"/>
                  <a:pt x="0" y="1070904"/>
                </a:cubicBezTo>
                <a:cubicBezTo>
                  <a:pt x="709904" y="873858"/>
                  <a:pt x="1496786" y="685379"/>
                  <a:pt x="2360645" y="505467"/>
                </a:cubicBezTo>
                <a:cubicBezTo>
                  <a:pt x="3121868" y="342690"/>
                  <a:pt x="4960776" y="8567"/>
                  <a:pt x="502920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426722" y="3491378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>
                <a:solidFill>
                  <a:schemeClr val="accent5"/>
                </a:solidFill>
              </a:rPr>
              <a:t>About </a:t>
            </a:r>
            <a:r>
              <a:rPr lang="en-US" sz="1600" err="1">
                <a:solidFill>
                  <a:schemeClr val="accent5"/>
                </a:solidFill>
              </a:rPr>
              <a:t>Sogeti</a:t>
            </a:r>
            <a:endParaRPr lang="en-US" sz="1600">
              <a:solidFill>
                <a:schemeClr val="accent5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26722" y="5407369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>
                <a:solidFill>
                  <a:schemeClr val="tx1"/>
                </a:solidFill>
              </a:rPr>
              <a:t>Learn more about us at</a:t>
            </a:r>
            <a:endParaRPr lang="en-US" sz="900">
              <a:solidFill>
                <a:schemeClr val="accent5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>
                <a:solidFill>
                  <a:schemeClr val="accent5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426723" y="5594826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7696201" y="5841671"/>
            <a:ext cx="4087812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 2018 </a:t>
            </a:r>
            <a:r>
              <a:rPr lang="en-US" sz="800" noProof="0" err="1">
                <a:solidFill>
                  <a:schemeClr val="bg1"/>
                </a:solidFill>
                <a:latin typeface="+mn-lt"/>
                <a:cs typeface="Arial"/>
              </a:rPr>
              <a:t>Sogeti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pic>
        <p:nvPicPr>
          <p:cNvPr id="10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684066" y="5181600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B1D44DE-9375-4835-B18F-A334E66D7F1C}"/>
              </a:ext>
            </a:extLst>
          </p:cNvPr>
          <p:cNvSpPr/>
          <p:nvPr userDrawn="1"/>
        </p:nvSpPr>
        <p:spPr>
          <a:xfrm>
            <a:off x="401188" y="3861048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1070224"/>
      </p:ext>
    </p:extLst>
  </p:cSld>
  <p:clrMapOvr>
    <a:masterClrMapping/>
  </p:clrMapOvr>
  <p:transition spd="slow" advClick="0" advTm="20000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0" y="0"/>
            <a:ext cx="6096000" cy="5796064"/>
          </a:xfrm>
          <a:custGeom>
            <a:avLst/>
            <a:gdLst>
              <a:gd name="connsiteX0" fmla="*/ 0 w 6096000"/>
              <a:gd name="connsiteY0" fmla="*/ 0 h 5796064"/>
              <a:gd name="connsiteX1" fmla="*/ 6096000 w 6096000"/>
              <a:gd name="connsiteY1" fmla="*/ 0 h 5796064"/>
              <a:gd name="connsiteX2" fmla="*/ 6096000 w 6096000"/>
              <a:gd name="connsiteY2" fmla="*/ 133757 h 5796064"/>
              <a:gd name="connsiteX3" fmla="*/ 6096000 w 6096000"/>
              <a:gd name="connsiteY3" fmla="*/ 4034055 h 5796064"/>
              <a:gd name="connsiteX4" fmla="*/ 0 w 6096000"/>
              <a:gd name="connsiteY4" fmla="*/ 5309105 h 5796064"/>
              <a:gd name="connsiteX5" fmla="*/ 0 w 6096000"/>
              <a:gd name="connsiteY5" fmla="*/ 8972 h 5796064"/>
              <a:gd name="connsiteX6" fmla="*/ 0 w 6096000"/>
              <a:gd name="connsiteY6" fmla="*/ 0 h 579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796064">
                <a:moveTo>
                  <a:pt x="0" y="0"/>
                </a:moveTo>
                <a:lnTo>
                  <a:pt x="6096000" y="0"/>
                </a:lnTo>
                <a:lnTo>
                  <a:pt x="6096000" y="133757"/>
                </a:lnTo>
                <a:cubicBezTo>
                  <a:pt x="6096000" y="1105896"/>
                  <a:pt x="6096000" y="2375629"/>
                  <a:pt x="6096000" y="4034055"/>
                </a:cubicBezTo>
                <a:cubicBezTo>
                  <a:pt x="6096000" y="6848354"/>
                  <a:pt x="721895" y="5492896"/>
                  <a:pt x="0" y="5309105"/>
                </a:cubicBezTo>
                <a:cubicBezTo>
                  <a:pt x="0" y="5309105"/>
                  <a:pt x="0" y="5309105"/>
                  <a:pt x="0" y="8972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7155492" y="2453640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>
                <a:solidFill>
                  <a:schemeClr val="accent3"/>
                </a:solidFill>
              </a:rPr>
              <a:t>About </a:t>
            </a:r>
            <a:r>
              <a:rPr lang="en-US" sz="1600" err="1">
                <a:solidFill>
                  <a:schemeClr val="accent3"/>
                </a:solidFill>
              </a:rPr>
              <a:t>Sogeti</a:t>
            </a:r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155492" y="4369631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>
                <a:solidFill>
                  <a:schemeClr val="tx1"/>
                </a:solidFill>
              </a:rPr>
              <a:t>Learn more about us at</a:t>
            </a:r>
            <a:endParaRPr lang="en-US" sz="900">
              <a:solidFill>
                <a:schemeClr val="accent3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>
                <a:solidFill>
                  <a:schemeClr val="accent3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7175636" y="4555357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20526" y="4596379"/>
            <a:ext cx="3999073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l">
              <a:spcAft>
                <a:spcPts val="600"/>
              </a:spcAft>
            </a:pP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 2018 </a:t>
            </a:r>
            <a:r>
              <a:rPr lang="en-US" sz="800" noProof="0" err="1">
                <a:solidFill>
                  <a:schemeClr val="bg1"/>
                </a:solidFill>
                <a:latin typeface="+mn-lt"/>
                <a:cs typeface="Arial"/>
              </a:rPr>
              <a:t>Sogeti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9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0526" y="3962400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3902" y="39624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87278" y="39624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C9E7AB6-360B-4526-A05F-E716E577D207}"/>
              </a:ext>
            </a:extLst>
          </p:cNvPr>
          <p:cNvSpPr/>
          <p:nvPr userDrawn="1"/>
        </p:nvSpPr>
        <p:spPr>
          <a:xfrm>
            <a:off x="7155491" y="2852936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8368940"/>
      </p:ext>
    </p:extLst>
  </p:cSld>
  <p:clrMapOvr>
    <a:masterClrMapping/>
  </p:clrMapOvr>
  <p:transition spd="slow" advClick="0" advTm="20000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894831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20000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16335793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6403054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insert 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  <p:transition spd="slow" advClick="0" advTm="20000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9301568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5050825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7498194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4220920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0837925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8170252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6742743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49841445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91227192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8400528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396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1423337"/>
            <a:ext cx="3584661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0714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4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2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5932074"/>
      </p:ext>
    </p:extLst>
  </p:cSld>
  <p:clrMapOvr>
    <a:masterClrMapping/>
  </p:clrMapOvr>
  <p:transition spd="slow" advClick="0" advTm="20000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0463766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684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20000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4991051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042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C1A94F9-DC7A-4538-8277-70A44CA101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11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74E803A8-AB56-45EC-B2C1-515FBB73BB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5519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9D1BE315-6BE9-4C05-9EDD-2BF1E94315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411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1281E9B6-7C84-4FF5-B198-C8FC0C8924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5519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07568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40043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07568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40043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7397716"/>
      </p:ext>
    </p:extLst>
  </p:cSld>
  <p:clrMapOvr>
    <a:masterClrMapping/>
  </p:clrMapOvr>
  <p:transition spd="slow" advClick="0" advTm="20000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rm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6076485"/>
      </p:ext>
    </p:extLst>
  </p:cSld>
  <p:clrMapOvr>
    <a:masterClrMapping/>
  </p:clrMapOvr>
  <p:transition spd="slow" advClick="0" advTm="20000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8966265"/>
      </p:ext>
    </p:extLst>
  </p:cSld>
  <p:clrMapOvr>
    <a:masterClrMapping/>
  </p:clrMapOvr>
  <p:transition spd="slow" advClick="0" advTm="20000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/>
          <p:cNvSpPr/>
          <p:nvPr userDrawn="1"/>
        </p:nvSpPr>
        <p:spPr>
          <a:xfrm>
            <a:off x="2703358" y="1531422"/>
            <a:ext cx="9488642" cy="5326579"/>
          </a:xfrm>
          <a:custGeom>
            <a:avLst/>
            <a:gdLst>
              <a:gd name="connsiteX0" fmla="*/ 8600219 w 9488642"/>
              <a:gd name="connsiteY0" fmla="*/ 517 h 5326579"/>
              <a:gd name="connsiteX1" fmla="*/ 9337654 w 9488642"/>
              <a:gd name="connsiteY1" fmla="*/ 75918 h 5326579"/>
              <a:gd name="connsiteX2" fmla="*/ 9488642 w 9488642"/>
              <a:gd name="connsiteY2" fmla="*/ 108110 h 5326579"/>
              <a:gd name="connsiteX3" fmla="*/ 9488642 w 9488642"/>
              <a:gd name="connsiteY3" fmla="*/ 5326579 h 5326579"/>
              <a:gd name="connsiteX4" fmla="*/ 0 w 9488642"/>
              <a:gd name="connsiteY4" fmla="*/ 5326579 h 5326579"/>
              <a:gd name="connsiteX5" fmla="*/ 239796 w 9488642"/>
              <a:gd name="connsiteY5" fmla="*/ 5146683 h 5326579"/>
              <a:gd name="connsiteX6" fmla="*/ 5947966 w 9488642"/>
              <a:gd name="connsiteY6" fmla="*/ 864382 h 5326579"/>
              <a:gd name="connsiteX7" fmla="*/ 8600219 w 9488642"/>
              <a:gd name="connsiteY7" fmla="*/ 517 h 5326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88642" h="5326579">
                <a:moveTo>
                  <a:pt x="8600219" y="517"/>
                </a:moveTo>
                <a:cubicBezTo>
                  <a:pt x="8847532" y="4354"/>
                  <a:pt x="9094309" y="29531"/>
                  <a:pt x="9337654" y="75918"/>
                </a:cubicBezTo>
                <a:lnTo>
                  <a:pt x="9488642" y="108110"/>
                </a:lnTo>
                <a:lnTo>
                  <a:pt x="9488642" y="5326579"/>
                </a:lnTo>
                <a:lnTo>
                  <a:pt x="0" y="5326579"/>
                </a:lnTo>
                <a:lnTo>
                  <a:pt x="239796" y="5146683"/>
                </a:lnTo>
                <a:cubicBezTo>
                  <a:pt x="5947966" y="864382"/>
                  <a:pt x="5947966" y="864382"/>
                  <a:pt x="5947966" y="864382"/>
                </a:cubicBezTo>
                <a:cubicBezTo>
                  <a:pt x="6737823" y="271827"/>
                  <a:pt x="7672794" y="-13871"/>
                  <a:pt x="8600219" y="51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89560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80999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367660"/>
      </p:ext>
    </p:extLst>
  </p:cSld>
  <p:clrMapOvr>
    <a:masterClrMapping/>
  </p:clrMapOvr>
  <p:transition spd="slow" advClick="0" advTm="20000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 userDrawn="1"/>
        </p:nvSpPr>
        <p:spPr>
          <a:xfrm>
            <a:off x="-22987" y="0"/>
            <a:ext cx="6223905" cy="6858000"/>
          </a:xfrm>
          <a:custGeom>
            <a:avLst/>
            <a:gdLst>
              <a:gd name="connsiteX0" fmla="*/ 0 w 6223905"/>
              <a:gd name="connsiteY0" fmla="*/ 0 h 6858000"/>
              <a:gd name="connsiteX1" fmla="*/ 4186882 w 6223905"/>
              <a:gd name="connsiteY1" fmla="*/ 0 h 6858000"/>
              <a:gd name="connsiteX2" fmla="*/ 4197034 w 6223905"/>
              <a:gd name="connsiteY2" fmla="*/ 22340 h 6858000"/>
              <a:gd name="connsiteX3" fmla="*/ 5904357 w 6223905"/>
              <a:gd name="connsiteY3" fmla="*/ 3779388 h 6858000"/>
              <a:gd name="connsiteX4" fmla="*/ 5873730 w 6223905"/>
              <a:gd name="connsiteY4" fmla="*/ 6784163 h 6858000"/>
              <a:gd name="connsiteX5" fmla="*/ 5834113 w 6223905"/>
              <a:gd name="connsiteY5" fmla="*/ 6858000 h 6858000"/>
              <a:gd name="connsiteX6" fmla="*/ 0 w 6223905"/>
              <a:gd name="connsiteY6" fmla="*/ 6858000 h 6858000"/>
              <a:gd name="connsiteX7" fmla="*/ 0 w 6223905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23905" h="6858000">
                <a:moveTo>
                  <a:pt x="0" y="0"/>
                </a:moveTo>
                <a:lnTo>
                  <a:pt x="4186882" y="0"/>
                </a:lnTo>
                <a:lnTo>
                  <a:pt x="4197034" y="22340"/>
                </a:lnTo>
                <a:cubicBezTo>
                  <a:pt x="5904357" y="3779388"/>
                  <a:pt x="5904357" y="3779388"/>
                  <a:pt x="5904357" y="3779388"/>
                </a:cubicBezTo>
                <a:cubicBezTo>
                  <a:pt x="6352858" y="4766336"/>
                  <a:pt x="6316954" y="5863968"/>
                  <a:pt x="5873730" y="6784163"/>
                </a:cubicBezTo>
                <a:lnTo>
                  <a:pt x="583411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080" y="1290009"/>
            <a:ext cx="6513490" cy="4835513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51460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42900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64015208"/>
      </p:ext>
    </p:extLst>
  </p:cSld>
  <p:clrMapOvr>
    <a:masterClrMapping/>
  </p:clrMapOvr>
  <p:transition spd="slow" advClick="0" advTm="20000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>
            <a:off x="0" y="0"/>
            <a:ext cx="6759210" cy="4518977"/>
          </a:xfrm>
          <a:custGeom>
            <a:avLst/>
            <a:gdLst>
              <a:gd name="connsiteX0" fmla="*/ 0 w 6759210"/>
              <a:gd name="connsiteY0" fmla="*/ 0 h 4518977"/>
              <a:gd name="connsiteX1" fmla="*/ 6759210 w 6759210"/>
              <a:gd name="connsiteY1" fmla="*/ 0 h 4518977"/>
              <a:gd name="connsiteX2" fmla="*/ 6756415 w 6759210"/>
              <a:gd name="connsiteY2" fmla="*/ 16666 h 4518977"/>
              <a:gd name="connsiteX3" fmla="*/ 6372387 w 6759210"/>
              <a:gd name="connsiteY3" fmla="*/ 2306550 h 4518977"/>
              <a:gd name="connsiteX4" fmla="*/ 3762973 w 6759210"/>
              <a:gd name="connsiteY4" fmla="*/ 4518977 h 4518977"/>
              <a:gd name="connsiteX5" fmla="*/ 339369 w 6759210"/>
              <a:gd name="connsiteY5" fmla="*/ 4518977 h 4518977"/>
              <a:gd name="connsiteX6" fmla="*/ 0 w 6759210"/>
              <a:gd name="connsiteY6" fmla="*/ 4518977 h 4518977"/>
              <a:gd name="connsiteX7" fmla="*/ 0 w 6759210"/>
              <a:gd name="connsiteY7" fmla="*/ 0 h 4518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9210" h="4518977">
                <a:moveTo>
                  <a:pt x="0" y="0"/>
                </a:moveTo>
                <a:lnTo>
                  <a:pt x="6759210" y="0"/>
                </a:lnTo>
                <a:lnTo>
                  <a:pt x="6756415" y="16666"/>
                </a:lnTo>
                <a:cubicBezTo>
                  <a:pt x="6686854" y="431442"/>
                  <a:pt x="6569700" y="1130011"/>
                  <a:pt x="6372387" y="2306550"/>
                </a:cubicBezTo>
                <a:cubicBezTo>
                  <a:pt x="6162872" y="3588428"/>
                  <a:pt x="5058156" y="4518977"/>
                  <a:pt x="3762973" y="4518977"/>
                </a:cubicBezTo>
                <a:cubicBezTo>
                  <a:pt x="3762973" y="4518977"/>
                  <a:pt x="3762973" y="4518977"/>
                  <a:pt x="339369" y="4518977"/>
                </a:cubicBezTo>
                <a:lnTo>
                  <a:pt x="0" y="4518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44374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35814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1838" y="777924"/>
            <a:ext cx="5321672" cy="5770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571551"/>
      </p:ext>
    </p:extLst>
  </p:cSld>
  <p:clrMapOvr>
    <a:masterClrMapping/>
  </p:clrMapOvr>
  <p:transition spd="slow" advClick="0" advTm="20000">
    <p:wipe/>
  </p:transition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13.emf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 rot="5400000">
            <a:off x="11885731" y="885110"/>
            <a:ext cx="1723717" cy="344332"/>
            <a:chOff x="12496801" y="706628"/>
            <a:chExt cx="2975350" cy="594360"/>
          </a:xfrm>
        </p:grpSpPr>
        <p:sp>
          <p:nvSpPr>
            <p:cNvPr id="5" name="Rectangle 4"/>
            <p:cNvSpPr/>
            <p:nvPr userDrawn="1"/>
          </p:nvSpPr>
          <p:spPr>
            <a:xfrm>
              <a:off x="12496801" y="706628"/>
              <a:ext cx="595070" cy="5943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13091871" y="706628"/>
              <a:ext cx="595070" cy="5943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13686941" y="706628"/>
              <a:ext cx="595070" cy="5943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4282011" y="706628"/>
              <a:ext cx="595070" cy="5943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14877081" y="706628"/>
              <a:ext cx="595070" cy="59436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</p:grpSp>
      <p:sp>
        <p:nvSpPr>
          <p:cNvPr id="26" name="Rectangle 25"/>
          <p:cNvSpPr/>
          <p:nvPr userDrawn="1"/>
        </p:nvSpPr>
        <p:spPr>
          <a:xfrm rot="16200000">
            <a:off x="11722550" y="4349305"/>
            <a:ext cx="1394613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tx2"/>
                </a:solidFill>
              </a:rPr>
              <a:t>Infographic Palette</a:t>
            </a:r>
          </a:p>
        </p:txBody>
      </p:sp>
      <p:grpSp>
        <p:nvGrpSpPr>
          <p:cNvPr id="64" name="Group 63"/>
          <p:cNvGrpSpPr/>
          <p:nvPr userDrawn="1"/>
        </p:nvGrpSpPr>
        <p:grpSpPr>
          <a:xfrm>
            <a:off x="12575423" y="2015626"/>
            <a:ext cx="347472" cy="4821246"/>
            <a:chOff x="12575423" y="2604463"/>
            <a:chExt cx="347472" cy="4821246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2575423" y="2604463"/>
              <a:ext cx="347472" cy="347472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2575423" y="2951375"/>
              <a:ext cx="347472" cy="347472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2575423" y="4334164"/>
              <a:ext cx="347472" cy="347472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2575423" y="5710816"/>
              <a:ext cx="347472" cy="347472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12575423" y="6048324"/>
              <a:ext cx="347472" cy="347472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2575423" y="7078237"/>
              <a:ext cx="347472" cy="347472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12575423" y="6735214"/>
              <a:ext cx="347472" cy="347472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2575423" y="6391347"/>
              <a:ext cx="347472" cy="347472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12575423" y="4679467"/>
              <a:ext cx="347472" cy="347472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12575423" y="5022490"/>
              <a:ext cx="347472" cy="347472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12575423" y="5367793"/>
              <a:ext cx="347472" cy="347472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2575423" y="3298847"/>
              <a:ext cx="347472" cy="347472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12575423" y="3644150"/>
              <a:ext cx="347472" cy="347472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2575423" y="3987173"/>
              <a:ext cx="347472" cy="347472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</p:grpSp>
      <p:sp>
        <p:nvSpPr>
          <p:cNvPr id="60" name="Rectangle 59"/>
          <p:cNvSpPr/>
          <p:nvPr userDrawn="1"/>
        </p:nvSpPr>
        <p:spPr>
          <a:xfrm rot="16200000">
            <a:off x="12134522" y="931087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7" name="Retângulo 43">
            <a:extLst>
              <a:ext uri="{FF2B5EF4-FFF2-40B4-BE49-F238E27FC236}">
                <a16:creationId xmlns:a16="http://schemas.microsoft.com/office/drawing/2014/main" id="{1FCECE0D-597B-4F85-B096-E094159894EB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2" name="Retângulo 43">
            <a:extLst>
              <a:ext uri="{FF2B5EF4-FFF2-40B4-BE49-F238E27FC236}">
                <a16:creationId xmlns:a16="http://schemas.microsoft.com/office/drawing/2014/main" id="{D2BD3233-55BA-4E31-8DE7-BEF1438AB184}"/>
              </a:ext>
            </a:extLst>
          </p:cNvPr>
          <p:cNvSpPr/>
          <p:nvPr userDrawn="1"/>
        </p:nvSpPr>
        <p:spPr>
          <a:xfrm>
            <a:off x="9750926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34" r:id="rId2"/>
    <p:sldLayoutId id="2147483735" r:id="rId3"/>
    <p:sldLayoutId id="2147483739" r:id="rId4"/>
    <p:sldLayoutId id="2147483846" r:id="rId5"/>
    <p:sldLayoutId id="2147483851" r:id="rId6"/>
    <p:sldLayoutId id="2147483871" r:id="rId7"/>
  </p:sldLayoutIdLst>
  <p:transition spd="slow" advClick="0" advTm="20000">
    <p:wipe/>
  </p:transition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62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13" r:id="rId2"/>
    <p:sldLayoutId id="2147483816" r:id="rId3"/>
    <p:sldLayoutId id="2147483821" r:id="rId4"/>
  </p:sldLayoutIdLst>
  <p:transition spd="slow" advClick="0" advTm="20000">
    <p:wipe/>
  </p:transition>
  <p:hf sldNum="0" hdr="0" ft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25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168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31" r:id="rId2"/>
  </p:sldLayoutIdLst>
  <p:transition spd="slow" advClick="0" advTm="20000">
    <p:wipe/>
  </p:transition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076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</p:sldLayoutIdLst>
  <p:transition spd="slow" advClick="0" advTm="20000">
    <p:wipe/>
  </p:transition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514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  <p:sldLayoutId id="2147483868" r:id="rId16"/>
    <p:sldLayoutId id="2147483869" r:id="rId17"/>
  </p:sldLayoutIdLst>
  <p:transition spd="slow" advClick="0" advTm="20000">
    <p:wip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docs.microsoft.com/nl-nl/azure/devops/learn/what-is-infrastructure-as-code" TargetMode="Externa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7.svg"/><Relationship Id="rId7" Type="http://schemas.openxmlformats.org/officeDocument/2006/relationships/image" Target="../media/image29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png"/><Relationship Id="rId5" Type="http://schemas.openxmlformats.org/officeDocument/2006/relationships/image" Target="../media/image25.png"/><Relationship Id="rId4" Type="http://schemas.openxmlformats.org/officeDocument/2006/relationships/image" Target="../media/image20.png"/><Relationship Id="rId9" Type="http://schemas.openxmlformats.org/officeDocument/2006/relationships/comments" Target="../comments/commen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3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cloudboost.cloud/docs/DevSetup/" TargetMode="External"/><Relationship Id="rId3" Type="http://schemas.openxmlformats.org/officeDocument/2006/relationships/hyperlink" Target="http://try.github.io/" TargetMode="External"/><Relationship Id="rId7" Type="http://schemas.openxmlformats.org/officeDocument/2006/relationships/hyperlink" Target="https://docs.microsoft.com/en-us/azure/devops/repos/git/gitworkflow?view=azure-devops" TargetMode="External"/><Relationship Id="rId2" Type="http://schemas.openxmlformats.org/officeDocument/2006/relationships/hyperlink" Target="https://mva.microsoft.com/en-US/training-courses/azure-resource-manager-devops-jump-start-8413?l=rqSZQ7Jz_7304984382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edx.org/course/devops-practices-principles-3" TargetMode="External"/><Relationship Id="rId5" Type="http://schemas.openxmlformats.org/officeDocument/2006/relationships/hyperlink" Target="https://www.edx.org/course/continuous-integration-continuous-deployment-3" TargetMode="External"/><Relationship Id="rId4" Type="http://schemas.openxmlformats.org/officeDocument/2006/relationships/hyperlink" Target="https://www.edx.org/course/automating-azure-workloads-2" TargetMode="External"/><Relationship Id="rId9" Type="http://schemas.openxmlformats.org/officeDocument/2006/relationships/comments" Target="../comments/commen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martinfowler.com/bliki/InfrastructureAsCode.html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71464" y="4941168"/>
            <a:ext cx="5832028" cy="7207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66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Sogeti </a:t>
            </a:r>
            <a:r>
              <a:rPr lang="en-US" sz="6600" err="1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CloudBoost</a:t>
            </a:r>
            <a:r>
              <a:rPr lang="en-US" sz="66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 Library</a:t>
            </a:r>
            <a:br>
              <a:rPr lang="en-US" sz="5400"/>
            </a:br>
            <a:endParaRPr lang="en-US" sz="54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D48892-FD0F-4E68-ABA4-35CC0A15EC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402" y="195300"/>
            <a:ext cx="4739610" cy="54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623433"/>
      </p:ext>
    </p:extLst>
  </p:cSld>
  <p:clrMapOvr>
    <a:masterClrMapping/>
  </p:clrMapOvr>
  <p:transition spd="slow" advClick="0" advTm="20000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ECD975F-8611-4F45-B2EA-08489D48C1AA}"/>
              </a:ext>
            </a:extLst>
          </p:cNvPr>
          <p:cNvSpPr/>
          <p:nvPr/>
        </p:nvSpPr>
        <p:spPr>
          <a:xfrm>
            <a:off x="-7055" y="599255"/>
            <a:ext cx="12192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0070AD"/>
              </a:buClr>
            </a:pPr>
            <a:r>
              <a:rPr lang="en-US" sz="4000" err="1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IaC</a:t>
            </a:r>
            <a:r>
              <a:rPr lang="en-US" sz="40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 is a </a:t>
            </a:r>
            <a:r>
              <a:rPr lang="en-US" sz="4000">
                <a:latin typeface="Ubuntu" panose="020B0504030602030204" pitchFamily="34" charset="0"/>
                <a:ea typeface="Verdana" panose="020B0604030504040204" pitchFamily="34" charset="0"/>
              </a:rPr>
              <a:t>key DevOps practi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8E47C2-E8E5-4B7D-86ED-CBC33D485876}"/>
              </a:ext>
            </a:extLst>
          </p:cNvPr>
          <p:cNvSpPr/>
          <p:nvPr/>
        </p:nvSpPr>
        <p:spPr>
          <a:xfrm>
            <a:off x="694184" y="2167689"/>
            <a:ext cx="6516724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solidFill>
                  <a:srgbClr val="111111"/>
                </a:solidFill>
                <a:latin typeface="+mj-lt"/>
              </a:rPr>
              <a:t>Infrastructure as Code is the management of infrastructure (networks, virtual machines, load balancers, and connection topology) in a descriptive model, using the same versioning as DevOps team uses for source code. Like the principle that the same source code generates the same binary, an </a:t>
            </a:r>
            <a:r>
              <a:rPr lang="en-US" err="1">
                <a:solidFill>
                  <a:srgbClr val="111111"/>
                </a:solidFill>
                <a:latin typeface="+mj-lt"/>
              </a:rPr>
              <a:t>IaC</a:t>
            </a:r>
            <a:r>
              <a:rPr lang="en-US">
                <a:solidFill>
                  <a:srgbClr val="111111"/>
                </a:solidFill>
                <a:latin typeface="+mj-lt"/>
              </a:rPr>
              <a:t> model generates the same environment every time it is applied. </a:t>
            </a:r>
            <a:r>
              <a:rPr lang="en-US" err="1">
                <a:solidFill>
                  <a:srgbClr val="111111"/>
                </a:solidFill>
                <a:latin typeface="+mj-lt"/>
              </a:rPr>
              <a:t>IaC</a:t>
            </a:r>
            <a:r>
              <a:rPr lang="en-US">
                <a:solidFill>
                  <a:srgbClr val="111111"/>
                </a:solidFill>
                <a:latin typeface="+mj-lt"/>
              </a:rPr>
              <a:t> is a key DevOps practice and is used in conjunction with continuous delivery.</a:t>
            </a:r>
            <a:endParaRPr lang="en-NL">
              <a:latin typeface="+mj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E0F563-4271-4855-BB65-AC1256996E9B}"/>
              </a:ext>
            </a:extLst>
          </p:cNvPr>
          <p:cNvSpPr/>
          <p:nvPr/>
        </p:nvSpPr>
        <p:spPr>
          <a:xfrm>
            <a:off x="714353" y="4869160"/>
            <a:ext cx="108732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L" sz="1400">
                <a:hlinkClick r:id="rId2"/>
              </a:rPr>
              <a:t>https://docs.microsoft.com/nl-nl/azure/devops/learn/what-is-infrastructure-as-code</a:t>
            </a:r>
            <a:r>
              <a:rPr lang="en-US" sz="1400"/>
              <a:t> </a:t>
            </a:r>
            <a:endParaRPr lang="en-NL" sz="1400"/>
          </a:p>
        </p:txBody>
      </p:sp>
      <p:pic>
        <p:nvPicPr>
          <p:cNvPr id="4098" name="Picture 2" descr="Infrastructure as code defines the environment in a versioned&#10;file">
            <a:extLst>
              <a:ext uri="{FF2B5EF4-FFF2-40B4-BE49-F238E27FC236}">
                <a16:creationId xmlns:a16="http://schemas.microsoft.com/office/drawing/2014/main" id="{FBFB6742-DFA9-4714-8577-4FDFE5A785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4152" y="2233383"/>
            <a:ext cx="4346848" cy="2173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4729551"/>
      </p:ext>
    </p:extLst>
  </p:cSld>
  <p:clrMapOvr>
    <a:masterClrMapping/>
  </p:clrMapOvr>
  <p:transition spd="slow" advClick="0" advTm="20000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F8E5B20-26DC-4B40-9065-4C87D42638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44" y="0"/>
            <a:ext cx="11335642" cy="7040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233924"/>
      </p:ext>
    </p:extLst>
  </p:cSld>
  <p:clrMapOvr>
    <a:masterClrMapping/>
  </p:clrMapOvr>
  <p:transition spd="slow" advClick="0" advTm="20000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46D2A-D66C-4DDB-A714-4E57C035E24E}"/>
              </a:ext>
            </a:extLst>
          </p:cNvPr>
          <p:cNvSpPr txBox="1">
            <a:spLocks/>
          </p:cNvSpPr>
          <p:nvPr/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en-US" sz="5400">
                <a:latin typeface="Ubuntu" panose="020B0504030602030204" pitchFamily="34" charset="0"/>
              </a:rPr>
              <a:t>Sogeti </a:t>
            </a:r>
            <a:r>
              <a:rPr lang="en-US" sz="5400" err="1">
                <a:latin typeface="Ubuntu" panose="020B0504030602030204" pitchFamily="34" charset="0"/>
              </a:rPr>
              <a:t>CloudBoost</a:t>
            </a:r>
            <a:r>
              <a:rPr lang="en-US" sz="5400">
                <a:latin typeface="Ubuntu" panose="020B0504030602030204" pitchFamily="34" charset="0"/>
              </a:rPr>
              <a:t> Library</a:t>
            </a:r>
            <a:endParaRPr lang="en-GB" sz="5400">
              <a:latin typeface="Ubuntu" panose="020B0504030602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7570E6E-8C78-4EE3-913B-5DD5769AD7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357" y="1556792"/>
            <a:ext cx="936104" cy="141858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D63CAE6-C70E-492B-BAAB-2ECEA8B098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0385" y="1284331"/>
            <a:ext cx="2110872" cy="2070793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C2D13B1-5A7A-4861-AA4B-572CE09012C9}"/>
              </a:ext>
            </a:extLst>
          </p:cNvPr>
          <p:cNvSpPr txBox="1">
            <a:spLocks/>
          </p:cNvSpPr>
          <p:nvPr/>
        </p:nvSpPr>
        <p:spPr>
          <a:xfrm>
            <a:off x="1775469" y="1912458"/>
            <a:ext cx="2110872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US" sz="4000">
                <a:solidFill>
                  <a:schemeClr val="tx2"/>
                </a:solidFill>
              </a:rPr>
              <a:t>Library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CDB8855-6DA5-4E04-B113-0A65D94147F0}"/>
              </a:ext>
            </a:extLst>
          </p:cNvPr>
          <p:cNvSpPr txBox="1">
            <a:spLocks/>
          </p:cNvSpPr>
          <p:nvPr/>
        </p:nvSpPr>
        <p:spPr>
          <a:xfrm>
            <a:off x="1775469" y="2761323"/>
            <a:ext cx="3587772" cy="36653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r>
              <a:rPr lang="en-US" sz="1600"/>
              <a:t>Reusable and maintained library of Cloud resources, scripts, packages and pipelines.</a:t>
            </a:r>
          </a:p>
          <a:p>
            <a:pPr defTabSz="685800">
              <a:defRPr/>
            </a:pPr>
            <a:endParaRPr lang="en-US" sz="1600"/>
          </a:p>
          <a:p>
            <a:pPr defTabSz="685800">
              <a:defRPr/>
            </a:pPr>
            <a:r>
              <a:rPr lang="en-US" sz="1600"/>
              <a:t>Conform Sogeti reference architecture, principles, guidelines and  practices.</a:t>
            </a:r>
          </a:p>
          <a:p>
            <a:pPr defTabSz="685800">
              <a:defRPr/>
            </a:pPr>
            <a:endParaRPr lang="en-US" sz="1600"/>
          </a:p>
          <a:p>
            <a:pPr defTabSz="685800">
              <a:defRPr/>
            </a:pPr>
            <a:r>
              <a:rPr lang="en-US" sz="1600"/>
              <a:t>Holds Cloud capabilities which are automatically provisioned in a fast, flexible, compliant, reusable and comfortable way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C2FC4E1-F25D-4CF2-92E7-B7779937E04A}"/>
              </a:ext>
            </a:extLst>
          </p:cNvPr>
          <p:cNvSpPr txBox="1">
            <a:spLocks/>
          </p:cNvSpPr>
          <p:nvPr/>
        </p:nvSpPr>
        <p:spPr>
          <a:xfrm>
            <a:off x="8040216" y="1912458"/>
            <a:ext cx="3528392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US" sz="4000">
                <a:solidFill>
                  <a:schemeClr val="tx2"/>
                </a:solidFill>
              </a:rPr>
              <a:t>Landing zon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587500A-2F8B-4455-A49F-E65EF09EFF21}"/>
              </a:ext>
            </a:extLst>
          </p:cNvPr>
          <p:cNvSpPr txBox="1">
            <a:spLocks/>
          </p:cNvSpPr>
          <p:nvPr/>
        </p:nvSpPr>
        <p:spPr>
          <a:xfrm>
            <a:off x="8040216" y="2761323"/>
            <a:ext cx="3587772" cy="33832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r>
              <a:rPr lang="en-US" sz="1600"/>
              <a:t>Preconfigured base with Cloud resources for security, compliancy and all other no functionals.</a:t>
            </a:r>
          </a:p>
          <a:p>
            <a:pPr defTabSz="685800">
              <a:defRPr/>
            </a:pPr>
            <a:endParaRPr lang="en-US" sz="1600"/>
          </a:p>
          <a:p>
            <a:pPr defTabSz="685800">
              <a:defRPr/>
            </a:pPr>
            <a:r>
              <a:rPr lang="en-US" sz="1600"/>
              <a:t>Automatic provisioned out of release pipelines by using the service catalog</a:t>
            </a:r>
          </a:p>
          <a:p>
            <a:pPr defTabSz="685800">
              <a:defRPr/>
            </a:pPr>
            <a:endParaRPr lang="en-US" sz="1600"/>
          </a:p>
          <a:p>
            <a:pPr defTabSz="685800">
              <a:defRPr/>
            </a:pPr>
            <a:r>
              <a:rPr lang="en-US" sz="1600"/>
              <a:t>A best practice platform conform industry standards and regulator rules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0287FC5-1303-4D58-ACF7-FC8ED0E26CA1}"/>
              </a:ext>
            </a:extLst>
          </p:cNvPr>
          <p:cNvCxnSpPr>
            <a:cxnSpLocks/>
          </p:cNvCxnSpPr>
          <p:nvPr/>
        </p:nvCxnSpPr>
        <p:spPr>
          <a:xfrm>
            <a:off x="7125821" y="2803362"/>
            <a:ext cx="0" cy="3299156"/>
          </a:xfrm>
          <a:prstGeom prst="line">
            <a:avLst/>
          </a:prstGeom>
          <a:ln>
            <a:solidFill>
              <a:srgbClr val="FF30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3854B0E-84BE-4D83-AB85-3E8AFF338243}"/>
              </a:ext>
            </a:extLst>
          </p:cNvPr>
          <p:cNvCxnSpPr>
            <a:cxnSpLocks/>
            <a:stCxn id="3" idx="2"/>
          </p:cNvCxnSpPr>
          <p:nvPr/>
        </p:nvCxnSpPr>
        <p:spPr>
          <a:xfrm>
            <a:off x="812409" y="2975375"/>
            <a:ext cx="36004" cy="2979030"/>
          </a:xfrm>
          <a:prstGeom prst="line">
            <a:avLst/>
          </a:prstGeom>
          <a:ln>
            <a:solidFill>
              <a:srgbClr val="FF30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8707460"/>
      </p:ext>
    </p:extLst>
  </p:cSld>
  <p:clrMapOvr>
    <a:masterClrMapping/>
  </p:clrMapOvr>
  <p:transition spd="slow" advClick="0" advTm="20000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881195C-EBF3-4713-A2FA-421D0212CB18}"/>
              </a:ext>
            </a:extLst>
          </p:cNvPr>
          <p:cNvSpPr txBox="1">
            <a:spLocks/>
          </p:cNvSpPr>
          <p:nvPr/>
        </p:nvSpPr>
        <p:spPr>
          <a:xfrm>
            <a:off x="407988" y="404813"/>
            <a:ext cx="11016604" cy="863601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5400">
                <a:latin typeface="Ubuntu" panose="020B0504030602030204" pitchFamily="34" charset="0"/>
              </a:rPr>
              <a:t>Docs</a:t>
            </a:r>
            <a:endParaRPr lang="en-GB" sz="5400">
              <a:latin typeface="Ubuntu" panose="020B0504030602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E03474E-6CBC-4655-BFFF-49744A58B0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3268" y="404813"/>
            <a:ext cx="8349780" cy="64531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253F57A-CDE0-469C-B711-826D623A1042}"/>
              </a:ext>
            </a:extLst>
          </p:cNvPr>
          <p:cNvSpPr txBox="1">
            <a:spLocks/>
          </p:cNvSpPr>
          <p:nvPr/>
        </p:nvSpPr>
        <p:spPr>
          <a:xfrm>
            <a:off x="551384" y="1596319"/>
            <a:ext cx="2880320" cy="217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r>
              <a:rPr lang="en-US" sz="1600" err="1"/>
              <a:t>CloudBoost.Cloud</a:t>
            </a:r>
            <a:endParaRPr lang="en-US" sz="1600"/>
          </a:p>
          <a:p>
            <a:pPr defTabSz="685800">
              <a:defRPr/>
            </a:pPr>
            <a:r>
              <a:rPr lang="en-US" sz="1600" err="1"/>
              <a:t>Us.CloudBoost.Cloud</a:t>
            </a:r>
            <a:endParaRPr lang="en-US" sz="1600"/>
          </a:p>
          <a:p>
            <a:pPr defTabSz="685800">
              <a:defRPr/>
            </a:pPr>
            <a:endParaRPr lang="en-US" sz="1600"/>
          </a:p>
          <a:p>
            <a:pPr defTabSz="685800">
              <a:defRPr/>
            </a:pPr>
            <a:r>
              <a:rPr lang="en-US" sz="1600"/>
              <a:t>Generated from markdown everyday based on the documentation next to the –as code- templates.</a:t>
            </a:r>
          </a:p>
        </p:txBody>
      </p:sp>
    </p:spTree>
    <p:extLst>
      <p:ext uri="{BB962C8B-B14F-4D97-AF65-F5344CB8AC3E}">
        <p14:creationId xmlns:p14="http://schemas.microsoft.com/office/powerpoint/2010/main" val="2434437667"/>
      </p:ext>
    </p:extLst>
  </p:cSld>
  <p:clrMapOvr>
    <a:masterClrMapping/>
  </p:clrMapOvr>
  <p:transition spd="slow" advClick="0" advTm="20000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97269-CD4D-4AD8-8E45-C9C89EF19079}"/>
              </a:ext>
            </a:extLst>
          </p:cNvPr>
          <p:cNvSpPr txBox="1">
            <a:spLocks/>
          </p:cNvSpPr>
          <p:nvPr/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en-US" sz="5400">
                <a:latin typeface="Ubuntu" panose="020B0504030602030204" pitchFamily="34" charset="0"/>
              </a:rPr>
              <a:t>Browse the site</a:t>
            </a:r>
            <a:endParaRPr lang="en-GB" sz="5400">
              <a:latin typeface="Ubuntu" panose="020B0504030602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36A2BC-11F0-4834-A683-508B4C2A93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700808"/>
            <a:ext cx="6609136" cy="51079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0CE4AFF-FA9C-4A60-B68A-6E26AD47BC26}"/>
              </a:ext>
            </a:extLst>
          </p:cNvPr>
          <p:cNvCxnSpPr>
            <a:cxnSpLocks/>
          </p:cNvCxnSpPr>
          <p:nvPr/>
        </p:nvCxnSpPr>
        <p:spPr>
          <a:xfrm flipH="1">
            <a:off x="7176120" y="2132683"/>
            <a:ext cx="1008112" cy="4322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8597A1C-0A32-4486-BE55-2534EBD91A77}"/>
              </a:ext>
            </a:extLst>
          </p:cNvPr>
          <p:cNvCxnSpPr>
            <a:cxnSpLocks/>
          </p:cNvCxnSpPr>
          <p:nvPr/>
        </p:nvCxnSpPr>
        <p:spPr>
          <a:xfrm flipH="1" flipV="1">
            <a:off x="6023992" y="2636912"/>
            <a:ext cx="2304256" cy="8640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C022DAF-D6AB-48F1-B7FD-CB52BEC4E9E5}"/>
              </a:ext>
            </a:extLst>
          </p:cNvPr>
          <p:cNvCxnSpPr>
            <a:cxnSpLocks/>
          </p:cNvCxnSpPr>
          <p:nvPr/>
        </p:nvCxnSpPr>
        <p:spPr>
          <a:xfrm flipH="1" flipV="1">
            <a:off x="3639878" y="2636912"/>
            <a:ext cx="4688370" cy="20882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C1532ED-CDA3-4463-B59B-CA3DEF5D5504}"/>
              </a:ext>
            </a:extLst>
          </p:cNvPr>
          <p:cNvSpPr txBox="1">
            <a:spLocks/>
          </p:cNvSpPr>
          <p:nvPr/>
        </p:nvSpPr>
        <p:spPr>
          <a:xfrm>
            <a:off x="8328248" y="1863108"/>
            <a:ext cx="2880320" cy="5363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r>
              <a:rPr lang="en-US" sz="1600"/>
              <a:t>Contribute to the documentation.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C156EBB-5225-4E0B-A0F6-AD223BC964D5}"/>
              </a:ext>
            </a:extLst>
          </p:cNvPr>
          <p:cNvSpPr txBox="1">
            <a:spLocks/>
          </p:cNvSpPr>
          <p:nvPr/>
        </p:nvSpPr>
        <p:spPr>
          <a:xfrm>
            <a:off x="8405806" y="3232857"/>
            <a:ext cx="2880320" cy="5363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r>
              <a:rPr lang="en-US" sz="1600"/>
              <a:t>Contributors are recognized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EA1878C-59F2-44A8-BA92-8548A304868D}"/>
              </a:ext>
            </a:extLst>
          </p:cNvPr>
          <p:cNvSpPr txBox="1">
            <a:spLocks/>
          </p:cNvSpPr>
          <p:nvPr/>
        </p:nvSpPr>
        <p:spPr>
          <a:xfrm>
            <a:off x="8544272" y="4456993"/>
            <a:ext cx="2880320" cy="5363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r>
              <a:rPr lang="en-US" sz="1600"/>
              <a:t>Last time a contribution has be committed.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9C10B54-37B8-4349-AB60-36FE962FC738}"/>
              </a:ext>
            </a:extLst>
          </p:cNvPr>
          <p:cNvCxnSpPr>
            <a:cxnSpLocks/>
          </p:cNvCxnSpPr>
          <p:nvPr/>
        </p:nvCxnSpPr>
        <p:spPr>
          <a:xfrm flipH="1" flipV="1">
            <a:off x="4583832" y="4020296"/>
            <a:ext cx="3744416" cy="15689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8E79B93-1D40-4D48-A9B3-D0BB004AF799}"/>
              </a:ext>
            </a:extLst>
          </p:cNvPr>
          <p:cNvSpPr txBox="1">
            <a:spLocks/>
          </p:cNvSpPr>
          <p:nvPr/>
        </p:nvSpPr>
        <p:spPr>
          <a:xfrm>
            <a:off x="8544272" y="5319837"/>
            <a:ext cx="2880320" cy="5363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r>
              <a:rPr lang="en-US" sz="1600"/>
              <a:t>Contribution guidelines and environment setup.</a:t>
            </a:r>
          </a:p>
        </p:txBody>
      </p:sp>
    </p:spTree>
    <p:extLst>
      <p:ext uri="{BB962C8B-B14F-4D97-AF65-F5344CB8AC3E}">
        <p14:creationId xmlns:p14="http://schemas.microsoft.com/office/powerpoint/2010/main" val="1033129324"/>
      </p:ext>
    </p:extLst>
  </p:cSld>
  <p:clrMapOvr>
    <a:masterClrMapping/>
  </p:clrMapOvr>
  <p:transition spd="slow" advClick="0" advTm="20000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8">
            <a:extLst>
              <a:ext uri="{FF2B5EF4-FFF2-40B4-BE49-F238E27FC236}">
                <a16:creationId xmlns:a16="http://schemas.microsoft.com/office/drawing/2014/main" id="{31CF7517-BF63-44EC-BDA4-05443C8D82EE}"/>
              </a:ext>
            </a:extLst>
          </p:cNvPr>
          <p:cNvSpPr>
            <a:spLocks/>
          </p:cNvSpPr>
          <p:nvPr/>
        </p:nvSpPr>
        <p:spPr bwMode="auto">
          <a:xfrm>
            <a:off x="623392" y="2880714"/>
            <a:ext cx="11568608" cy="3977286"/>
          </a:xfrm>
          <a:custGeom>
            <a:avLst/>
            <a:gdLst>
              <a:gd name="T0" fmla="*/ 0 w 538"/>
              <a:gd name="T1" fmla="*/ 807 h 807"/>
              <a:gd name="T2" fmla="*/ 0 w 538"/>
              <a:gd name="T3" fmla="*/ 325 h 807"/>
              <a:gd name="T4" fmla="*/ 233 w 538"/>
              <a:gd name="T5" fmla="*/ 50 h 807"/>
              <a:gd name="T6" fmla="*/ 538 w 538"/>
              <a:gd name="T7" fmla="*/ 0 h 807"/>
              <a:gd name="T8" fmla="*/ 538 w 538"/>
              <a:gd name="T9" fmla="*/ 807 h 807"/>
              <a:gd name="T10" fmla="*/ 0 w 538"/>
              <a:gd name="T11" fmla="*/ 807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8" h="807">
                <a:moveTo>
                  <a:pt x="0" y="807"/>
                </a:moveTo>
                <a:cubicBezTo>
                  <a:pt x="0" y="325"/>
                  <a:pt x="0" y="325"/>
                  <a:pt x="0" y="325"/>
                </a:cubicBezTo>
                <a:cubicBezTo>
                  <a:pt x="0" y="188"/>
                  <a:pt x="98" y="72"/>
                  <a:pt x="233" y="50"/>
                </a:cubicBezTo>
                <a:cubicBezTo>
                  <a:pt x="538" y="0"/>
                  <a:pt x="538" y="0"/>
                  <a:pt x="538" y="0"/>
                </a:cubicBezTo>
                <a:cubicBezTo>
                  <a:pt x="538" y="807"/>
                  <a:pt x="538" y="807"/>
                  <a:pt x="538" y="807"/>
                </a:cubicBezTo>
                <a:lnTo>
                  <a:pt x="0" y="80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A96B012-1BEC-424F-A2CC-565361446C1C}"/>
              </a:ext>
            </a:extLst>
          </p:cNvPr>
          <p:cNvSpPr/>
          <p:nvPr/>
        </p:nvSpPr>
        <p:spPr>
          <a:xfrm>
            <a:off x="191344" y="572738"/>
            <a:ext cx="120006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0070AD"/>
              </a:buClr>
            </a:pPr>
            <a:r>
              <a:rPr lang="en-US" sz="40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OneDeliver CloudBoost Libr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A92A94-F64A-4140-9B24-9B22E428D8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6440" y="332656"/>
            <a:ext cx="1800200" cy="2728044"/>
          </a:xfrm>
          <a:prstGeom prst="rect">
            <a:avLst/>
          </a:prstGeom>
        </p:spPr>
      </p:pic>
      <p:sp>
        <p:nvSpPr>
          <p:cNvPr id="7" name="object 266">
            <a:extLst>
              <a:ext uri="{FF2B5EF4-FFF2-40B4-BE49-F238E27FC236}">
                <a16:creationId xmlns:a16="http://schemas.microsoft.com/office/drawing/2014/main" id="{FC38AEBE-16B2-47AB-93A1-B8BBC1070A19}"/>
              </a:ext>
            </a:extLst>
          </p:cNvPr>
          <p:cNvSpPr txBox="1">
            <a:spLocks/>
          </p:cNvSpPr>
          <p:nvPr/>
        </p:nvSpPr>
        <p:spPr bwMode="gray">
          <a:xfrm>
            <a:off x="2891954" y="1916832"/>
            <a:ext cx="6156374" cy="5302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3258">
              <a:spcBef>
                <a:spcPts val="600"/>
              </a:spcBef>
              <a:spcAft>
                <a:spcPts val="600"/>
              </a:spcAft>
            </a:pPr>
            <a:endParaRPr sz="2800">
              <a:solidFill>
                <a:schemeClr val="accent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F491049-61E6-40D7-B7DD-1FCD828001D9}"/>
              </a:ext>
            </a:extLst>
          </p:cNvPr>
          <p:cNvSpPr/>
          <p:nvPr/>
        </p:nvSpPr>
        <p:spPr>
          <a:xfrm>
            <a:off x="1659112" y="1665298"/>
            <a:ext cx="9045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US" sz="2400"/>
              <a:t>Reusable Cloud resources designed with DevOps in mind, conform industry standards and practices.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B0B542C-B2F5-4289-8144-F34914A8CC64}"/>
              </a:ext>
            </a:extLst>
          </p:cNvPr>
          <p:cNvSpPr/>
          <p:nvPr/>
        </p:nvSpPr>
        <p:spPr>
          <a:xfrm>
            <a:off x="7725454" y="4153131"/>
            <a:ext cx="1800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b="1">
                <a:solidFill>
                  <a:schemeClr val="bg1"/>
                </a:solidFill>
              </a:rPr>
              <a:t>Developed</a:t>
            </a:r>
            <a:r>
              <a:rPr lang="en-US">
                <a:solidFill>
                  <a:schemeClr val="bg1"/>
                </a:solidFill>
              </a:rPr>
              <a:t> Sogeti Open Source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A8EFD4-4C72-4D38-A614-E8CF9AD9B73C}"/>
              </a:ext>
            </a:extLst>
          </p:cNvPr>
          <p:cNvSpPr/>
          <p:nvPr/>
        </p:nvSpPr>
        <p:spPr>
          <a:xfrm>
            <a:off x="9917085" y="4153131"/>
            <a:ext cx="18000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b="1">
                <a:solidFill>
                  <a:schemeClr val="bg1"/>
                </a:solidFill>
              </a:rPr>
              <a:t>Controlled</a:t>
            </a:r>
            <a:r>
              <a:rPr lang="en-US">
                <a:solidFill>
                  <a:schemeClr val="bg1"/>
                </a:solidFill>
              </a:rPr>
              <a:t> by Sogeti review board and validated with Cloud provider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B94A1F-F0DB-4264-92ED-C88617FE3D83}"/>
              </a:ext>
            </a:extLst>
          </p:cNvPr>
          <p:cNvSpPr/>
          <p:nvPr/>
        </p:nvSpPr>
        <p:spPr>
          <a:xfrm>
            <a:off x="5533824" y="4153131"/>
            <a:ext cx="1800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b="1">
                <a:solidFill>
                  <a:schemeClr val="bg1"/>
                </a:solidFill>
              </a:rPr>
              <a:t>Supported</a:t>
            </a:r>
            <a:r>
              <a:rPr lang="en-US">
                <a:solidFill>
                  <a:schemeClr val="bg1"/>
                </a:solidFill>
              </a:rPr>
              <a:t> on Usages and setup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BAC1A96-8B28-4882-BC48-124842E6E884}"/>
              </a:ext>
            </a:extLst>
          </p:cNvPr>
          <p:cNvSpPr/>
          <p:nvPr/>
        </p:nvSpPr>
        <p:spPr>
          <a:xfrm>
            <a:off x="3342194" y="4153131"/>
            <a:ext cx="18000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b="1">
                <a:solidFill>
                  <a:schemeClr val="bg1"/>
                </a:solidFill>
              </a:rPr>
              <a:t>Maintained</a:t>
            </a:r>
            <a:r>
              <a:rPr lang="en-US">
                <a:solidFill>
                  <a:schemeClr val="bg1"/>
                </a:solidFill>
              </a:rPr>
              <a:t> on Cloud provider capabilities and practices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FF966F-1BD1-4062-9FC0-2D330D0B8CE3}"/>
              </a:ext>
            </a:extLst>
          </p:cNvPr>
          <p:cNvSpPr/>
          <p:nvPr/>
        </p:nvSpPr>
        <p:spPr>
          <a:xfrm>
            <a:off x="1150564" y="4153131"/>
            <a:ext cx="1800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Validated</a:t>
            </a:r>
            <a:r>
              <a:rPr lang="en-US">
                <a:solidFill>
                  <a:schemeClr val="bg1"/>
                </a:solidFill>
              </a:rPr>
              <a:t> automatic within pipelines. </a:t>
            </a:r>
            <a:endParaRPr lang="en-GB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D34740C-70F3-45DC-82A7-AABB2F6364A8}"/>
              </a:ext>
            </a:extLst>
          </p:cNvPr>
          <p:cNvGrpSpPr/>
          <p:nvPr/>
        </p:nvGrpSpPr>
        <p:grpSpPr>
          <a:xfrm>
            <a:off x="1569866" y="3501011"/>
            <a:ext cx="359717" cy="321976"/>
            <a:chOff x="1666769" y="3719469"/>
            <a:chExt cx="265533" cy="236683"/>
          </a:xfrm>
        </p:grpSpPr>
        <p:sp>
          <p:nvSpPr>
            <p:cNvPr id="17" name="Teardrop 16">
              <a:extLst>
                <a:ext uri="{FF2B5EF4-FFF2-40B4-BE49-F238E27FC236}">
                  <a16:creationId xmlns:a16="http://schemas.microsoft.com/office/drawing/2014/main" id="{7638B1C4-53E9-435F-9B89-B5346AAE4079}"/>
                </a:ext>
              </a:extLst>
            </p:cNvPr>
            <p:cNvSpPr/>
            <p:nvPr/>
          </p:nvSpPr>
          <p:spPr>
            <a:xfrm rot="8100000">
              <a:off x="1666769" y="3736703"/>
              <a:ext cx="265533" cy="219449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10DA149-9C3B-41DE-83A8-A0A417014EAE}"/>
                </a:ext>
              </a:extLst>
            </p:cNvPr>
            <p:cNvSpPr txBox="1"/>
            <p:nvPr/>
          </p:nvSpPr>
          <p:spPr>
            <a:xfrm>
              <a:off x="1695879" y="3719469"/>
              <a:ext cx="207312" cy="1866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50" b="1">
                  <a:solidFill>
                    <a:schemeClr val="bg1"/>
                  </a:solidFill>
                </a:rPr>
                <a:t>1</a:t>
              </a:r>
              <a:endParaRPr lang="en-GB" sz="1050" b="1">
                <a:solidFill>
                  <a:schemeClr val="bg1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2A5BDBC-951B-4492-8ED9-747D96DD3C0F}"/>
              </a:ext>
            </a:extLst>
          </p:cNvPr>
          <p:cNvGrpSpPr/>
          <p:nvPr/>
        </p:nvGrpSpPr>
        <p:grpSpPr>
          <a:xfrm>
            <a:off x="3846514" y="3501011"/>
            <a:ext cx="359717" cy="321976"/>
            <a:chOff x="1822604" y="3077623"/>
            <a:chExt cx="265533" cy="236683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390C50B4-E3E8-413A-8FFF-C0926B73EF99}"/>
                </a:ext>
              </a:extLst>
            </p:cNvPr>
            <p:cNvSpPr/>
            <p:nvPr/>
          </p:nvSpPr>
          <p:spPr>
            <a:xfrm rot="8100000">
              <a:off x="1822604" y="3094857"/>
              <a:ext cx="265533" cy="219449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FB5F343-CF74-497E-ACAF-3A65D8DDC374}"/>
                </a:ext>
              </a:extLst>
            </p:cNvPr>
            <p:cNvSpPr txBox="1"/>
            <p:nvPr/>
          </p:nvSpPr>
          <p:spPr>
            <a:xfrm>
              <a:off x="1851714" y="3077623"/>
              <a:ext cx="207312" cy="1866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50" b="1">
                  <a:solidFill>
                    <a:schemeClr val="bg1"/>
                  </a:solidFill>
                </a:rPr>
                <a:t>2</a:t>
              </a:r>
              <a:endParaRPr lang="en-GB" sz="1050" b="1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D2A19DA-F17A-4068-91B4-56FEF7769F0A}"/>
              </a:ext>
            </a:extLst>
          </p:cNvPr>
          <p:cNvGrpSpPr/>
          <p:nvPr/>
        </p:nvGrpSpPr>
        <p:grpSpPr>
          <a:xfrm>
            <a:off x="6006746" y="3501011"/>
            <a:ext cx="359717" cy="321976"/>
            <a:chOff x="6103657" y="3592511"/>
            <a:chExt cx="265533" cy="236683"/>
          </a:xfrm>
        </p:grpSpPr>
        <p:sp>
          <p:nvSpPr>
            <p:cNvPr id="24" name="Teardrop 23">
              <a:extLst>
                <a:ext uri="{FF2B5EF4-FFF2-40B4-BE49-F238E27FC236}">
                  <a16:creationId xmlns:a16="http://schemas.microsoft.com/office/drawing/2014/main" id="{EB74A170-36C8-4732-A82D-474D20736888}"/>
                </a:ext>
              </a:extLst>
            </p:cNvPr>
            <p:cNvSpPr/>
            <p:nvPr/>
          </p:nvSpPr>
          <p:spPr>
            <a:xfrm rot="8100000">
              <a:off x="6103657" y="3609745"/>
              <a:ext cx="265533" cy="219449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7F4901C-38B2-43F7-B7CB-44A56BA6B2BB}"/>
                </a:ext>
              </a:extLst>
            </p:cNvPr>
            <p:cNvSpPr txBox="1"/>
            <p:nvPr/>
          </p:nvSpPr>
          <p:spPr>
            <a:xfrm>
              <a:off x="6132767" y="3592511"/>
              <a:ext cx="207312" cy="1866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50" b="1">
                  <a:solidFill>
                    <a:schemeClr val="bg1"/>
                  </a:solidFill>
                </a:rPr>
                <a:t>3</a:t>
              </a:r>
              <a:endParaRPr lang="en-GB" sz="1050" b="1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54C4ADA-71BE-4BF8-8FCC-A63FD5E7AA0B}"/>
              </a:ext>
            </a:extLst>
          </p:cNvPr>
          <p:cNvGrpSpPr/>
          <p:nvPr/>
        </p:nvGrpSpPr>
        <p:grpSpPr>
          <a:xfrm>
            <a:off x="8160784" y="3501011"/>
            <a:ext cx="359717" cy="321976"/>
            <a:chOff x="8257699" y="3637021"/>
            <a:chExt cx="265533" cy="236683"/>
          </a:xfrm>
        </p:grpSpPr>
        <p:sp>
          <p:nvSpPr>
            <p:cNvPr id="26" name="Teardrop 25">
              <a:extLst>
                <a:ext uri="{FF2B5EF4-FFF2-40B4-BE49-F238E27FC236}">
                  <a16:creationId xmlns:a16="http://schemas.microsoft.com/office/drawing/2014/main" id="{F92BA069-45D8-4D79-9BF1-A86E6F74745A}"/>
                </a:ext>
              </a:extLst>
            </p:cNvPr>
            <p:cNvSpPr/>
            <p:nvPr/>
          </p:nvSpPr>
          <p:spPr>
            <a:xfrm rot="8100000">
              <a:off x="8257699" y="3654255"/>
              <a:ext cx="265533" cy="219449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2C90EB1-81A4-440F-9E6C-1E6C708DCC2C}"/>
                </a:ext>
              </a:extLst>
            </p:cNvPr>
            <p:cNvSpPr txBox="1"/>
            <p:nvPr/>
          </p:nvSpPr>
          <p:spPr>
            <a:xfrm>
              <a:off x="8286809" y="3637021"/>
              <a:ext cx="207312" cy="1866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50" b="1">
                  <a:solidFill>
                    <a:schemeClr val="bg1"/>
                  </a:solidFill>
                </a:rPr>
                <a:t>4</a:t>
              </a:r>
              <a:endParaRPr lang="en-GB" sz="1050" b="1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C798443-62C2-4E5D-86FF-D6D58EB49543}"/>
              </a:ext>
            </a:extLst>
          </p:cNvPr>
          <p:cNvGrpSpPr/>
          <p:nvPr/>
        </p:nvGrpSpPr>
        <p:grpSpPr>
          <a:xfrm>
            <a:off x="10471234" y="3501011"/>
            <a:ext cx="359717" cy="321976"/>
            <a:chOff x="10568153" y="3719469"/>
            <a:chExt cx="265533" cy="236683"/>
          </a:xfrm>
        </p:grpSpPr>
        <p:sp>
          <p:nvSpPr>
            <p:cNvPr id="28" name="Teardrop 27">
              <a:extLst>
                <a:ext uri="{FF2B5EF4-FFF2-40B4-BE49-F238E27FC236}">
                  <a16:creationId xmlns:a16="http://schemas.microsoft.com/office/drawing/2014/main" id="{6815538F-159C-4F8E-AB39-B354373C7945}"/>
                </a:ext>
              </a:extLst>
            </p:cNvPr>
            <p:cNvSpPr/>
            <p:nvPr/>
          </p:nvSpPr>
          <p:spPr>
            <a:xfrm rot="8100000">
              <a:off x="10568153" y="3736703"/>
              <a:ext cx="265533" cy="219449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4052C65-BA9B-46BA-A818-F0FCCF60FB8C}"/>
                </a:ext>
              </a:extLst>
            </p:cNvPr>
            <p:cNvSpPr txBox="1"/>
            <p:nvPr/>
          </p:nvSpPr>
          <p:spPr>
            <a:xfrm>
              <a:off x="10597263" y="3719469"/>
              <a:ext cx="207312" cy="1866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50" b="1">
                  <a:solidFill>
                    <a:schemeClr val="bg1"/>
                  </a:solidFill>
                </a:rPr>
                <a:t>5</a:t>
              </a:r>
              <a:endParaRPr lang="en-GB" sz="105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0119749"/>
      </p:ext>
    </p:extLst>
  </p:cSld>
  <p:clrMapOvr>
    <a:masterClrMapping/>
  </p:clrMapOvr>
  <p:transition spd="slow" advClick="0" advTm="20000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270DB10-4C03-4E2A-9062-1116C175DF25}"/>
              </a:ext>
            </a:extLst>
          </p:cNvPr>
          <p:cNvSpPr txBox="1">
            <a:spLocks/>
          </p:cNvSpPr>
          <p:nvPr/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5400">
                <a:latin typeface="Ubuntu" panose="020B0504030602030204" pitchFamily="34" charset="0"/>
              </a:rPr>
              <a:t>Open Source Development</a:t>
            </a:r>
            <a:endParaRPr lang="en-GB" sz="5400">
              <a:latin typeface="Ubuntu" panose="020B0504030602030204" pitchFamily="34" charset="0"/>
            </a:endParaRPr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4E69B7F7-01A0-41B7-BAF9-E90D74411A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9536" y="2636912"/>
            <a:ext cx="1782220" cy="178222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2210C910-9512-4AA0-B0B1-554575F7D3DD}"/>
              </a:ext>
            </a:extLst>
          </p:cNvPr>
          <p:cNvSpPr/>
          <p:nvPr/>
        </p:nvSpPr>
        <p:spPr>
          <a:xfrm>
            <a:off x="3290524" y="2564904"/>
            <a:ext cx="597631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3200" b="1">
                <a:solidFill>
                  <a:srgbClr val="DE5900"/>
                </a:solidFill>
                <a:latin typeface="Ubuntu" panose="020B0504030602030204" pitchFamily="34" charset="0"/>
              </a:rPr>
              <a:t>CloudBoost.VisualStudio.com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138FC2C-A499-4BF9-9688-20BB4A1A5610}"/>
              </a:ext>
            </a:extLst>
          </p:cNvPr>
          <p:cNvSpPr/>
          <p:nvPr/>
        </p:nvSpPr>
        <p:spPr>
          <a:xfrm>
            <a:off x="4007768" y="3422348"/>
            <a:ext cx="100546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>
                <a:solidFill>
                  <a:srgbClr val="ED8D5B"/>
                </a:solidFill>
                <a:latin typeface="Ubuntu" panose="020B0504030602030204" pitchFamily="34" charset="0"/>
              </a:rPr>
              <a:t>+20.000(0)</a:t>
            </a:r>
          </a:p>
          <a:p>
            <a:r>
              <a:rPr lang="en-GB" sz="2400">
                <a:solidFill>
                  <a:srgbClr val="ED8D5B"/>
                </a:solidFill>
                <a:latin typeface="Ubuntu" panose="020B0504030602030204" pitchFamily="34" charset="0"/>
              </a:rPr>
              <a:t>Sogeti </a:t>
            </a:r>
            <a:r>
              <a:rPr lang="en-US" sz="2400">
                <a:solidFill>
                  <a:srgbClr val="ED8D5B"/>
                </a:solidFill>
                <a:latin typeface="Ubuntu" panose="020B0504030602030204" pitchFamily="34" charset="0"/>
              </a:rPr>
              <a:t>colleagues can contribute </a:t>
            </a:r>
            <a:r>
              <a:rPr lang="en-GB" sz="2400">
                <a:solidFill>
                  <a:srgbClr val="ED8D5B"/>
                </a:solidFill>
                <a:latin typeface="Ubuntu" panose="020B0504030602030204" pitchFamily="34" charset="0"/>
              </a:rPr>
              <a:t>on Azure Repos</a:t>
            </a:r>
            <a:r>
              <a:rPr lang="en-US" sz="2400">
                <a:solidFill>
                  <a:srgbClr val="ED8D5B"/>
                </a:solidFill>
                <a:latin typeface="Ubuntu" panose="020B0504030602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76602956"/>
      </p:ext>
    </p:extLst>
  </p:cSld>
  <p:clrMapOvr>
    <a:masterClrMapping/>
  </p:clrMapOvr>
  <p:transition spd="slow" advClick="0" advTm="20000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EA4A787E-920B-4A56-B22F-2C62C1CACDEC}"/>
              </a:ext>
            </a:extLst>
          </p:cNvPr>
          <p:cNvSpPr/>
          <p:nvPr/>
        </p:nvSpPr>
        <p:spPr>
          <a:xfrm>
            <a:off x="2927648" y="2564904"/>
            <a:ext cx="6048662" cy="3501963"/>
          </a:xfrm>
          <a:prstGeom prst="rect">
            <a:avLst/>
          </a:prstGeom>
          <a:solidFill>
            <a:srgbClr val="88D5E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CAA7EEF-C581-40AE-A485-43DFD6FDA3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7209306" y="2831898"/>
            <a:ext cx="615095" cy="61509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B0FED6D-4FCA-48F2-81D0-C6BD33434A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9236" y="260648"/>
            <a:ext cx="1783103" cy="270213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3741E892-D2BC-4EE8-BED2-F85B050ACA24}"/>
              </a:ext>
            </a:extLst>
          </p:cNvPr>
          <p:cNvSpPr/>
          <p:nvPr/>
        </p:nvSpPr>
        <p:spPr>
          <a:xfrm>
            <a:off x="263352" y="321209"/>
            <a:ext cx="120726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0070AD"/>
              </a:buClr>
            </a:pPr>
            <a:r>
              <a:rPr lang="en-US" sz="40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Work with the CloudBoost Librar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9A37B85-6BC1-460E-9B66-186BA5CCE88C}"/>
              </a:ext>
            </a:extLst>
          </p:cNvPr>
          <p:cNvSpPr/>
          <p:nvPr/>
        </p:nvSpPr>
        <p:spPr>
          <a:xfrm rot="16200000">
            <a:off x="1341252" y="4143086"/>
            <a:ext cx="1860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>
                <a:solidFill>
                  <a:srgbClr val="002060"/>
                </a:solidFill>
              </a:rPr>
              <a:t>CONNECTED</a:t>
            </a:r>
            <a:r>
              <a:rPr lang="en-US">
                <a:solidFill>
                  <a:srgbClr val="002060"/>
                </a:solidFill>
              </a:rPr>
              <a:t> 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5B8DD5-1691-46D9-8749-CCE2A8448E1D}"/>
              </a:ext>
            </a:extLst>
          </p:cNvPr>
          <p:cNvSpPr/>
          <p:nvPr/>
        </p:nvSpPr>
        <p:spPr>
          <a:xfrm>
            <a:off x="4887838" y="1485798"/>
            <a:ext cx="28083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>
                <a:solidFill>
                  <a:srgbClr val="002060"/>
                </a:solidFill>
              </a:rPr>
              <a:t>CUSTOMIZATION</a:t>
            </a:r>
            <a:r>
              <a:rPr lang="en-US">
                <a:solidFill>
                  <a:srgbClr val="002060"/>
                </a:solidFill>
              </a:rPr>
              <a:t> 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19370D4-965B-4086-A775-25C338D51179}"/>
              </a:ext>
            </a:extLst>
          </p:cNvPr>
          <p:cNvCxnSpPr>
            <a:cxnSpLocks/>
          </p:cNvCxnSpPr>
          <p:nvPr/>
        </p:nvCxnSpPr>
        <p:spPr>
          <a:xfrm>
            <a:off x="5951984" y="2348880"/>
            <a:ext cx="0" cy="3888432"/>
          </a:xfrm>
          <a:prstGeom prst="line">
            <a:avLst/>
          </a:prstGeom>
          <a:ln w="57150" cap="rnd">
            <a:solidFill>
              <a:srgbClr val="FF3A4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9E3A01E-A37A-4D0D-ADBA-CD991BE9DFBE}"/>
              </a:ext>
            </a:extLst>
          </p:cNvPr>
          <p:cNvCxnSpPr>
            <a:cxnSpLocks/>
          </p:cNvCxnSpPr>
          <p:nvPr/>
        </p:nvCxnSpPr>
        <p:spPr>
          <a:xfrm>
            <a:off x="2891645" y="4331884"/>
            <a:ext cx="6120668" cy="23271"/>
          </a:xfrm>
          <a:prstGeom prst="line">
            <a:avLst/>
          </a:prstGeom>
          <a:ln w="57150" cap="rnd">
            <a:solidFill>
              <a:srgbClr val="FF3A4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AEC456BC-6F71-4507-804F-275C8FA8F649}"/>
              </a:ext>
            </a:extLst>
          </p:cNvPr>
          <p:cNvSpPr/>
          <p:nvPr/>
        </p:nvSpPr>
        <p:spPr>
          <a:xfrm>
            <a:off x="3644026" y="3529718"/>
            <a:ext cx="1764197" cy="312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/>
              <a:t>GIT Submodule</a:t>
            </a:r>
            <a:endParaRPr lang="en-GB" sz="11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257275-677F-4213-AC68-BF934137A8CB}"/>
              </a:ext>
            </a:extLst>
          </p:cNvPr>
          <p:cNvSpPr txBox="1"/>
          <p:nvPr/>
        </p:nvSpPr>
        <p:spPr>
          <a:xfrm rot="16200000">
            <a:off x="2243356" y="3132054"/>
            <a:ext cx="630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YES</a:t>
            </a:r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9B666CA-836D-4AC3-9BB0-699CA981F060}"/>
              </a:ext>
            </a:extLst>
          </p:cNvPr>
          <p:cNvSpPr txBox="1"/>
          <p:nvPr/>
        </p:nvSpPr>
        <p:spPr>
          <a:xfrm>
            <a:off x="4348908" y="1766428"/>
            <a:ext cx="5389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NO</a:t>
            </a:r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CBDD46A-A13B-46B4-9C23-FC63EADE64E1}"/>
              </a:ext>
            </a:extLst>
          </p:cNvPr>
          <p:cNvSpPr txBox="1"/>
          <p:nvPr/>
        </p:nvSpPr>
        <p:spPr>
          <a:xfrm rot="16200000">
            <a:off x="2281352" y="5208771"/>
            <a:ext cx="5389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NO</a:t>
            </a:r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F279D7D-9171-4D3D-979C-E5EB2E7541F7}"/>
              </a:ext>
            </a:extLst>
          </p:cNvPr>
          <p:cNvSpPr txBox="1"/>
          <p:nvPr/>
        </p:nvSpPr>
        <p:spPr>
          <a:xfrm>
            <a:off x="7284133" y="1766428"/>
            <a:ext cx="630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YES</a:t>
            </a:r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E0269B9-7D52-418B-84E1-57C3A43C9439}"/>
              </a:ext>
            </a:extLst>
          </p:cNvPr>
          <p:cNvSpPr/>
          <p:nvPr/>
        </p:nvSpPr>
        <p:spPr>
          <a:xfrm>
            <a:off x="3696780" y="5278150"/>
            <a:ext cx="1646772" cy="312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/>
              <a:t>Package manager</a:t>
            </a:r>
            <a:endParaRPr lang="en-GB" sz="11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FDD027-3680-4F4B-8BE2-BF62FA653E65}"/>
              </a:ext>
            </a:extLst>
          </p:cNvPr>
          <p:cNvSpPr/>
          <p:nvPr/>
        </p:nvSpPr>
        <p:spPr>
          <a:xfrm>
            <a:off x="6920458" y="3397329"/>
            <a:ext cx="2592277" cy="312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/>
              <a:t>Own GIT branch</a:t>
            </a:r>
            <a:endParaRPr lang="en-GB" sz="11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45A11A-544B-423D-85AF-DCFACEFFFE5F}"/>
              </a:ext>
            </a:extLst>
          </p:cNvPr>
          <p:cNvSpPr/>
          <p:nvPr/>
        </p:nvSpPr>
        <p:spPr>
          <a:xfrm>
            <a:off x="7268281" y="5122146"/>
            <a:ext cx="1565515" cy="312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/>
              <a:t>Own library</a:t>
            </a:r>
            <a:endParaRPr lang="en-GB" sz="1100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20C87E9E-D7D1-4562-9F7F-7A458C2A28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634" y="2981712"/>
            <a:ext cx="607033" cy="60703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50C7B5F-01D7-4555-A0EC-8496054EAF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358" y="2899078"/>
            <a:ext cx="441415" cy="441415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CB795E3B-BF35-41E0-9C18-835AEEEFC8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44307" y="4784299"/>
            <a:ext cx="551237" cy="55123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39075CA-4654-4CC9-9EC1-3E521322A0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86673" y="4720676"/>
            <a:ext cx="641828" cy="940171"/>
          </a:xfrm>
          <a:prstGeom prst="rect">
            <a:avLst/>
          </a:prstGeom>
        </p:spPr>
      </p:pic>
      <p:pic>
        <p:nvPicPr>
          <p:cNvPr id="22" name="Picture 21" descr="A close up of a logo&#10;&#10;Description automatically generated">
            <a:extLst>
              <a:ext uri="{FF2B5EF4-FFF2-40B4-BE49-F238E27FC236}">
                <a16:creationId xmlns:a16="http://schemas.microsoft.com/office/drawing/2014/main" id="{90081E0F-2D46-42CA-A61F-833E31472A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9950" y="3039560"/>
            <a:ext cx="459918" cy="459918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5D18A57-1D71-463E-BB52-284BED6EC519}"/>
              </a:ext>
            </a:extLst>
          </p:cNvPr>
          <p:cNvGrpSpPr/>
          <p:nvPr/>
        </p:nvGrpSpPr>
        <p:grpSpPr>
          <a:xfrm>
            <a:off x="3217172" y="2531684"/>
            <a:ext cx="415499" cy="340787"/>
            <a:chOff x="1036899" y="3064871"/>
            <a:chExt cx="415499" cy="340787"/>
          </a:xfrm>
        </p:grpSpPr>
        <p:sp>
          <p:nvSpPr>
            <p:cNvPr id="27" name="Teardrop 26">
              <a:extLst>
                <a:ext uri="{FF2B5EF4-FFF2-40B4-BE49-F238E27FC236}">
                  <a16:creationId xmlns:a16="http://schemas.microsoft.com/office/drawing/2014/main" id="{08F0E82B-61AC-4E30-A116-13B3EE1356E3}"/>
                </a:ext>
              </a:extLst>
            </p:cNvPr>
            <p:cNvSpPr/>
            <p:nvPr/>
          </p:nvSpPr>
          <p:spPr>
            <a:xfrm rot="8100000">
              <a:off x="1076220" y="3064871"/>
              <a:ext cx="336859" cy="340787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3B2A3E3-3FCA-4F75-BAF4-1BA7F6D7B213}"/>
                </a:ext>
              </a:extLst>
            </p:cNvPr>
            <p:cNvSpPr txBox="1"/>
            <p:nvPr/>
          </p:nvSpPr>
          <p:spPr>
            <a:xfrm>
              <a:off x="1036899" y="3098091"/>
              <a:ext cx="41549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>
                  <a:solidFill>
                    <a:schemeClr val="bg1"/>
                  </a:solidFill>
                </a:rPr>
                <a:t>1.1</a:t>
              </a:r>
              <a:endParaRPr lang="en-GB" sz="1100">
                <a:solidFill>
                  <a:schemeClr val="bg1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6654EDE-6307-475A-AACD-EFB46076B1E0}"/>
              </a:ext>
            </a:extLst>
          </p:cNvPr>
          <p:cNvGrpSpPr/>
          <p:nvPr/>
        </p:nvGrpSpPr>
        <p:grpSpPr>
          <a:xfrm>
            <a:off x="6365401" y="2477677"/>
            <a:ext cx="415499" cy="340787"/>
            <a:chOff x="1036899" y="3064871"/>
            <a:chExt cx="415499" cy="340787"/>
          </a:xfrm>
        </p:grpSpPr>
        <p:sp>
          <p:nvSpPr>
            <p:cNvPr id="30" name="Teardrop 29">
              <a:extLst>
                <a:ext uri="{FF2B5EF4-FFF2-40B4-BE49-F238E27FC236}">
                  <a16:creationId xmlns:a16="http://schemas.microsoft.com/office/drawing/2014/main" id="{CEE9B1D5-940D-4AA1-83F7-66EB42E114AC}"/>
                </a:ext>
              </a:extLst>
            </p:cNvPr>
            <p:cNvSpPr/>
            <p:nvPr/>
          </p:nvSpPr>
          <p:spPr>
            <a:xfrm rot="8100000">
              <a:off x="1076220" y="3064871"/>
              <a:ext cx="336859" cy="340787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B48140E-8253-4D52-BF9D-1B512DC30961}"/>
                </a:ext>
              </a:extLst>
            </p:cNvPr>
            <p:cNvSpPr txBox="1"/>
            <p:nvPr/>
          </p:nvSpPr>
          <p:spPr>
            <a:xfrm>
              <a:off x="1036899" y="3098091"/>
              <a:ext cx="41549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>
                  <a:solidFill>
                    <a:schemeClr val="bg1"/>
                  </a:solidFill>
                </a:rPr>
                <a:t>1.2</a:t>
              </a:r>
              <a:endParaRPr lang="en-GB" sz="110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F414ACD-2E44-4E58-A239-F1C690F530FD}"/>
              </a:ext>
            </a:extLst>
          </p:cNvPr>
          <p:cNvGrpSpPr/>
          <p:nvPr/>
        </p:nvGrpSpPr>
        <p:grpSpPr>
          <a:xfrm>
            <a:off x="3228527" y="4385891"/>
            <a:ext cx="415499" cy="340787"/>
            <a:chOff x="1036899" y="3064871"/>
            <a:chExt cx="415499" cy="340787"/>
          </a:xfrm>
        </p:grpSpPr>
        <p:sp>
          <p:nvSpPr>
            <p:cNvPr id="33" name="Teardrop 32">
              <a:extLst>
                <a:ext uri="{FF2B5EF4-FFF2-40B4-BE49-F238E27FC236}">
                  <a16:creationId xmlns:a16="http://schemas.microsoft.com/office/drawing/2014/main" id="{43584D86-07DC-4E4D-858A-9945973418EA}"/>
                </a:ext>
              </a:extLst>
            </p:cNvPr>
            <p:cNvSpPr/>
            <p:nvPr/>
          </p:nvSpPr>
          <p:spPr>
            <a:xfrm rot="8100000">
              <a:off x="1076220" y="3064871"/>
              <a:ext cx="336859" cy="340787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20FD5E5-8714-4C93-8063-C2E1C2A76FEC}"/>
                </a:ext>
              </a:extLst>
            </p:cNvPr>
            <p:cNvSpPr txBox="1"/>
            <p:nvPr/>
          </p:nvSpPr>
          <p:spPr>
            <a:xfrm>
              <a:off x="1036899" y="3098091"/>
              <a:ext cx="41549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>
                  <a:solidFill>
                    <a:schemeClr val="bg1"/>
                  </a:solidFill>
                </a:rPr>
                <a:t>2.1</a:t>
              </a:r>
              <a:endParaRPr lang="en-GB" sz="110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213C5F5-5C7F-441C-82ED-5CE24DBEA004}"/>
              </a:ext>
            </a:extLst>
          </p:cNvPr>
          <p:cNvGrpSpPr/>
          <p:nvPr/>
        </p:nvGrpSpPr>
        <p:grpSpPr>
          <a:xfrm>
            <a:off x="6440289" y="4472362"/>
            <a:ext cx="415499" cy="340787"/>
            <a:chOff x="1036899" y="3064871"/>
            <a:chExt cx="415499" cy="340787"/>
          </a:xfrm>
        </p:grpSpPr>
        <p:sp>
          <p:nvSpPr>
            <p:cNvPr id="36" name="Teardrop 35">
              <a:extLst>
                <a:ext uri="{FF2B5EF4-FFF2-40B4-BE49-F238E27FC236}">
                  <a16:creationId xmlns:a16="http://schemas.microsoft.com/office/drawing/2014/main" id="{000A9CBA-BA57-4DAA-990D-127C5717219B}"/>
                </a:ext>
              </a:extLst>
            </p:cNvPr>
            <p:cNvSpPr/>
            <p:nvPr/>
          </p:nvSpPr>
          <p:spPr>
            <a:xfrm rot="8100000">
              <a:off x="1076220" y="3064871"/>
              <a:ext cx="336859" cy="340787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CB57956-7412-4DA9-9253-7720C412865B}"/>
                </a:ext>
              </a:extLst>
            </p:cNvPr>
            <p:cNvSpPr txBox="1"/>
            <p:nvPr/>
          </p:nvSpPr>
          <p:spPr>
            <a:xfrm>
              <a:off x="1036899" y="3098091"/>
              <a:ext cx="41549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>
                  <a:solidFill>
                    <a:schemeClr val="bg1"/>
                  </a:solidFill>
                </a:rPr>
                <a:t>2.2</a:t>
              </a:r>
              <a:endParaRPr lang="en-GB" sz="11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479841"/>
      </p:ext>
    </p:extLst>
  </p:cSld>
  <p:clrMapOvr>
    <a:masterClrMapping/>
  </p:clrMapOvr>
  <p:transition spd="slow" advClick="0" advTm="20000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BEBE050F-A3FE-4377-A745-06CAA782CB34}"/>
              </a:ext>
            </a:extLst>
          </p:cNvPr>
          <p:cNvSpPr>
            <a:spLocks/>
          </p:cNvSpPr>
          <p:nvPr/>
        </p:nvSpPr>
        <p:spPr bwMode="auto">
          <a:xfrm flipH="1">
            <a:off x="0" y="1340769"/>
            <a:ext cx="7680176" cy="5517232"/>
          </a:xfrm>
          <a:custGeom>
            <a:avLst/>
            <a:gdLst>
              <a:gd name="T0" fmla="*/ 0 w 538"/>
              <a:gd name="T1" fmla="*/ 807 h 807"/>
              <a:gd name="T2" fmla="*/ 0 w 538"/>
              <a:gd name="T3" fmla="*/ 325 h 807"/>
              <a:gd name="T4" fmla="*/ 233 w 538"/>
              <a:gd name="T5" fmla="*/ 50 h 807"/>
              <a:gd name="T6" fmla="*/ 538 w 538"/>
              <a:gd name="T7" fmla="*/ 0 h 807"/>
              <a:gd name="T8" fmla="*/ 538 w 538"/>
              <a:gd name="T9" fmla="*/ 807 h 807"/>
              <a:gd name="T10" fmla="*/ 0 w 538"/>
              <a:gd name="T11" fmla="*/ 807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8" h="807">
                <a:moveTo>
                  <a:pt x="0" y="807"/>
                </a:moveTo>
                <a:cubicBezTo>
                  <a:pt x="0" y="325"/>
                  <a:pt x="0" y="325"/>
                  <a:pt x="0" y="325"/>
                </a:cubicBezTo>
                <a:cubicBezTo>
                  <a:pt x="0" y="188"/>
                  <a:pt x="98" y="72"/>
                  <a:pt x="233" y="50"/>
                </a:cubicBezTo>
                <a:cubicBezTo>
                  <a:pt x="538" y="0"/>
                  <a:pt x="538" y="0"/>
                  <a:pt x="538" y="0"/>
                </a:cubicBezTo>
                <a:cubicBezTo>
                  <a:pt x="538" y="807"/>
                  <a:pt x="538" y="807"/>
                  <a:pt x="538" y="807"/>
                </a:cubicBezTo>
                <a:lnTo>
                  <a:pt x="0" y="807"/>
                </a:lnTo>
                <a:close/>
              </a:path>
            </a:pathLst>
          </a:custGeom>
          <a:solidFill>
            <a:srgbClr val="0070A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8BD3B92-6412-4382-91E8-A2040FC113BB}"/>
              </a:ext>
            </a:extLst>
          </p:cNvPr>
          <p:cNvSpPr/>
          <p:nvPr/>
        </p:nvSpPr>
        <p:spPr>
          <a:xfrm>
            <a:off x="767408" y="1796618"/>
            <a:ext cx="6658478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 Light" panose="020F0302020204030204" pitchFamily="34" charset="0"/>
              </a:rPr>
              <a:t>Re-use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 Light" panose="020F0302020204030204" pitchFamily="34" charset="0"/>
              </a:rPr>
              <a:t>Standardiz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 Light" panose="020F0302020204030204" pitchFamily="34" charset="0"/>
              </a:rPr>
              <a:t>Best Practice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 Light" panose="020F0302020204030204" pitchFamily="34" charset="0"/>
              </a:rPr>
              <a:t>Reference Architectur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 Light" panose="020F0302020204030204" pitchFamily="34" charset="0"/>
              </a:rPr>
              <a:t>Efficiency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 Light" panose="020F0302020204030204" pitchFamily="34" charset="0"/>
              </a:rPr>
              <a:t>Knowledge shar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 Light" panose="020F0302020204030204" pitchFamily="34" charset="0"/>
              </a:rPr>
              <a:t>Compliance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 Light" panose="020F0302020204030204" pitchFamily="34" charset="0"/>
              </a:rPr>
              <a:t>Governance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 Light" panose="020F0302020204030204" pitchFamily="34" charset="0"/>
              </a:rPr>
              <a:t>DevOp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 Light" panose="020F0302020204030204" pitchFamily="34" charset="0"/>
              </a:rPr>
              <a:t>Optimize innovatio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E7A3595-8954-4645-B443-07C71DF6C0CB}"/>
              </a:ext>
            </a:extLst>
          </p:cNvPr>
          <p:cNvSpPr txBox="1">
            <a:spLocks/>
          </p:cNvSpPr>
          <p:nvPr/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en-US" sz="5400">
                <a:latin typeface="Ubuntu" panose="020B0504030602030204" pitchFamily="34" charset="0"/>
              </a:rPr>
              <a:t>Sogeti </a:t>
            </a:r>
            <a:r>
              <a:rPr lang="en-US" sz="5400" err="1">
                <a:latin typeface="Ubuntu" panose="020B0504030602030204" pitchFamily="34" charset="0"/>
              </a:rPr>
              <a:t>CloudBoost</a:t>
            </a:r>
            <a:r>
              <a:rPr lang="en-US" sz="5400">
                <a:latin typeface="Ubuntu" panose="020B0504030602030204" pitchFamily="34" charset="0"/>
              </a:rPr>
              <a:t> Library</a:t>
            </a:r>
            <a:endParaRPr lang="en-GB" sz="5400">
              <a:latin typeface="Ubuntu" panose="020B0504030602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DC72152-2ACB-4036-8189-511145D42D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297" y="2204864"/>
            <a:ext cx="5950276" cy="447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335167"/>
      </p:ext>
    </p:extLst>
  </p:cSld>
  <p:clrMapOvr>
    <a:masterClrMapping/>
  </p:clrMapOvr>
  <p:transition spd="slow" advClick="0" advTm="20000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AAA82-E181-451C-9F37-80B882771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>
                <a:latin typeface="Ubuntu" panose="020B0504030602030204" pitchFamily="34" charset="0"/>
              </a:rPr>
              <a:t>Needed knowledge</a:t>
            </a:r>
            <a:endParaRPr lang="en-NL" sz="5400">
              <a:latin typeface="Ubuntu" panose="020B0504030602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75894A-8D0A-4979-BF04-2C1CB1C339FB}"/>
              </a:ext>
            </a:extLst>
          </p:cNvPr>
          <p:cNvSpPr txBox="1">
            <a:spLocks/>
          </p:cNvSpPr>
          <p:nvPr/>
        </p:nvSpPr>
        <p:spPr>
          <a:xfrm>
            <a:off x="1318673" y="1700808"/>
            <a:ext cx="424847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US" sz="2800">
                <a:solidFill>
                  <a:schemeClr val="tx2"/>
                </a:solidFill>
              </a:rPr>
              <a:t>Cloud servic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7F81728-91FB-443E-A63D-5AD93A1E7E7D}"/>
              </a:ext>
            </a:extLst>
          </p:cNvPr>
          <p:cNvSpPr/>
          <p:nvPr/>
        </p:nvSpPr>
        <p:spPr>
          <a:xfrm>
            <a:off x="1318673" y="2108408"/>
            <a:ext cx="97210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err="1"/>
              <a:t>What</a:t>
            </a:r>
            <a:r>
              <a:rPr lang="nl-NL"/>
              <a:t> can </a:t>
            </a:r>
            <a:r>
              <a:rPr lang="nl-NL" err="1"/>
              <a:t>you</a:t>
            </a:r>
            <a:r>
              <a:rPr lang="nl-NL"/>
              <a:t> make </a:t>
            </a:r>
            <a:r>
              <a:rPr lang="nl-NL" err="1"/>
              <a:t>with</a:t>
            </a:r>
            <a:r>
              <a:rPr lang="nl-NL"/>
              <a:t> Cloud, </a:t>
            </a:r>
            <a:r>
              <a:rPr lang="nl-NL" err="1"/>
              <a:t>what</a:t>
            </a:r>
            <a:r>
              <a:rPr lang="nl-NL"/>
              <a:t> are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avaialble</a:t>
            </a:r>
            <a:r>
              <a:rPr lang="nl-NL"/>
              <a:t> Cloud resources and </a:t>
            </a:r>
            <a:r>
              <a:rPr lang="nl-NL" err="1"/>
              <a:t>what</a:t>
            </a:r>
            <a:r>
              <a:rPr lang="nl-NL"/>
              <a:t> are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configuration</a:t>
            </a:r>
            <a:r>
              <a:rPr lang="nl-NL"/>
              <a:t> options.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D27D5D-5BE3-4C7C-952F-DDD1BF02E3FC}"/>
              </a:ext>
            </a:extLst>
          </p:cNvPr>
          <p:cNvSpPr/>
          <p:nvPr/>
        </p:nvSpPr>
        <p:spPr>
          <a:xfrm>
            <a:off x="1318673" y="3456574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l-NL"/>
              <a:t>How </a:t>
            </a:r>
            <a:r>
              <a:rPr lang="nl-NL" err="1"/>
              <a:t>to</a:t>
            </a:r>
            <a:r>
              <a:rPr lang="nl-NL"/>
              <a:t> script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creation</a:t>
            </a:r>
            <a:r>
              <a:rPr lang="nl-NL"/>
              <a:t> of </a:t>
            </a:r>
            <a:r>
              <a:rPr lang="nl-NL" err="1"/>
              <a:t>cloud</a:t>
            </a:r>
            <a:r>
              <a:rPr lang="nl-NL"/>
              <a:t> resourc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EB5D69-6F2D-44C0-94C7-8CA860050DBC}"/>
              </a:ext>
            </a:extLst>
          </p:cNvPr>
          <p:cNvSpPr/>
          <p:nvPr/>
        </p:nvSpPr>
        <p:spPr>
          <a:xfrm>
            <a:off x="1318673" y="2986884"/>
            <a:ext cx="80648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2800">
                <a:solidFill>
                  <a:schemeClr val="tx2"/>
                </a:solidFill>
              </a:rPr>
              <a:t>Cloud template </a:t>
            </a:r>
            <a:r>
              <a:rPr lang="nl-NL" sz="2800" err="1">
                <a:solidFill>
                  <a:schemeClr val="tx2"/>
                </a:solidFill>
              </a:rPr>
              <a:t>language</a:t>
            </a:r>
            <a:endParaRPr lang="nl-NL" sz="280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1FA1E7E-28A8-4EE3-BAFF-40F9750E7C76}"/>
              </a:ext>
            </a:extLst>
          </p:cNvPr>
          <p:cNvSpPr/>
          <p:nvPr/>
        </p:nvSpPr>
        <p:spPr>
          <a:xfrm>
            <a:off x="1318673" y="4528049"/>
            <a:ext cx="99140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/>
              <a:t>Control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creation</a:t>
            </a:r>
            <a:r>
              <a:rPr lang="nl-NL"/>
              <a:t> and </a:t>
            </a:r>
            <a:r>
              <a:rPr lang="nl-NL" err="1"/>
              <a:t>colloboration</a:t>
            </a:r>
            <a:r>
              <a:rPr lang="nl-NL"/>
              <a:t> of team </a:t>
            </a:r>
            <a:r>
              <a:rPr lang="nl-NL" err="1"/>
              <a:t>work</a:t>
            </a:r>
            <a:r>
              <a:rPr lang="nl-NL"/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318215-E2F0-4B47-B9C5-BAC221BBE1E7}"/>
              </a:ext>
            </a:extLst>
          </p:cNvPr>
          <p:cNvSpPr/>
          <p:nvPr/>
        </p:nvSpPr>
        <p:spPr>
          <a:xfrm>
            <a:off x="1318673" y="4081547"/>
            <a:ext cx="268701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800">
                <a:solidFill>
                  <a:schemeClr val="tx2"/>
                </a:solidFill>
              </a:rPr>
              <a:t>Git </a:t>
            </a:r>
            <a:r>
              <a:rPr lang="en-US" sz="2800">
                <a:solidFill>
                  <a:schemeClr val="tx2"/>
                </a:solidFill>
              </a:rPr>
              <a:t>version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7C800E-4DA7-41DD-9061-458FC3FC8B6C}"/>
              </a:ext>
            </a:extLst>
          </p:cNvPr>
          <p:cNvSpPr/>
          <p:nvPr/>
        </p:nvSpPr>
        <p:spPr>
          <a:xfrm>
            <a:off x="1318673" y="5327215"/>
            <a:ext cx="49822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2800">
                <a:solidFill>
                  <a:schemeClr val="tx2"/>
                </a:solidFill>
              </a:rPr>
              <a:t>Azure DevOps </a:t>
            </a:r>
            <a:r>
              <a:rPr lang="nl-NL" sz="2800" err="1">
                <a:solidFill>
                  <a:schemeClr val="tx2"/>
                </a:solidFill>
              </a:rPr>
              <a:t>pipelines</a:t>
            </a:r>
            <a:endParaRPr lang="nl-NL" sz="2800">
              <a:solidFill>
                <a:schemeClr val="tx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70FC77-97D7-412B-AD29-67A7033F7868}"/>
              </a:ext>
            </a:extLst>
          </p:cNvPr>
          <p:cNvSpPr/>
          <p:nvPr/>
        </p:nvSpPr>
        <p:spPr>
          <a:xfrm>
            <a:off x="1318673" y="5805264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/>
              <a:t>Automate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78908256"/>
      </p:ext>
    </p:extLst>
  </p:cSld>
  <p:clrMapOvr>
    <a:masterClrMapping/>
  </p:clrMapOvr>
  <p:transition spd="slow" advClick="0" advTm="20000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AAA82-E181-451C-9F37-80B882771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>
                <a:latin typeface="Ubuntu" panose="020B0504030602030204" pitchFamily="34" charset="0"/>
              </a:rPr>
              <a:t>The training program</a:t>
            </a:r>
            <a:endParaRPr lang="en-NL" sz="5400">
              <a:latin typeface="Ubuntu" panose="020B0504030602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75894A-8D0A-4979-BF04-2C1CB1C339FB}"/>
              </a:ext>
            </a:extLst>
          </p:cNvPr>
          <p:cNvSpPr txBox="1">
            <a:spLocks/>
          </p:cNvSpPr>
          <p:nvPr/>
        </p:nvSpPr>
        <p:spPr>
          <a:xfrm>
            <a:off x="1271464" y="2451809"/>
            <a:ext cx="10801200" cy="19543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US" sz="2800"/>
              <a:t>Part 1 online	Why and What - The As Code paradigm.</a:t>
            </a:r>
          </a:p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US" sz="2800"/>
              <a:t>Part 2 self		Online courses.</a:t>
            </a:r>
          </a:p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US" sz="2800"/>
              <a:t>Part 3 onsite	Hands-on Hackathon.</a:t>
            </a:r>
          </a:p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US" sz="2800"/>
              <a:t>Part 4 online	Use, contribute and sell it. </a:t>
            </a:r>
          </a:p>
        </p:txBody>
      </p:sp>
    </p:spTree>
    <p:extLst>
      <p:ext uri="{BB962C8B-B14F-4D97-AF65-F5344CB8AC3E}">
        <p14:creationId xmlns:p14="http://schemas.microsoft.com/office/powerpoint/2010/main" val="4104842613"/>
      </p:ext>
    </p:extLst>
  </p:cSld>
  <p:clrMapOvr>
    <a:masterClrMapping/>
  </p:clrMapOvr>
  <p:transition spd="slow" advClick="0" advTm="20000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AAA82-E181-451C-9F37-80B882771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>
                <a:latin typeface="Ubuntu" panose="020B0504030602030204" pitchFamily="34" charset="0"/>
              </a:rPr>
              <a:t>Homework</a:t>
            </a:r>
            <a:endParaRPr lang="en-NL" sz="5400">
              <a:latin typeface="Ubuntu" panose="020B0504030602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75894A-8D0A-4979-BF04-2C1CB1C339FB}"/>
              </a:ext>
            </a:extLst>
          </p:cNvPr>
          <p:cNvSpPr txBox="1">
            <a:spLocks/>
          </p:cNvSpPr>
          <p:nvPr/>
        </p:nvSpPr>
        <p:spPr>
          <a:xfrm>
            <a:off x="1123691" y="2013288"/>
            <a:ext cx="916981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US" sz="2800" err="1">
                <a:solidFill>
                  <a:schemeClr val="tx2"/>
                </a:solidFill>
              </a:rPr>
              <a:t>Oneline</a:t>
            </a:r>
            <a:r>
              <a:rPr lang="en-US" sz="2800">
                <a:solidFill>
                  <a:schemeClr val="tx2"/>
                </a:solidFill>
              </a:rPr>
              <a:t> courses to follow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7F81728-91FB-443E-A63D-5AD93A1E7E7D}"/>
              </a:ext>
            </a:extLst>
          </p:cNvPr>
          <p:cNvSpPr/>
          <p:nvPr/>
        </p:nvSpPr>
        <p:spPr>
          <a:xfrm>
            <a:off x="1123692" y="2420888"/>
            <a:ext cx="972108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>
                <a:hlinkClick r:id="rId2"/>
              </a:rPr>
              <a:t>Azure Resource Manager DevOps Jump Start</a:t>
            </a:r>
            <a:r>
              <a:rPr lang="nl-NL"/>
              <a:t>. (must have </a:t>
            </a:r>
            <a:r>
              <a:rPr lang="nl-NL" err="1"/>
              <a:t>knowledge</a:t>
            </a:r>
            <a:r>
              <a:rPr lang="nl-NL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nl-NL">
                <a:hlinkClick r:id="rId3"/>
              </a:rPr>
              <a:t>Resources </a:t>
            </a:r>
            <a:r>
              <a:rPr lang="nl-NL" err="1">
                <a:hlinkClick r:id="rId3"/>
              </a:rPr>
              <a:t>to</a:t>
            </a:r>
            <a:r>
              <a:rPr lang="nl-NL">
                <a:hlinkClick r:id="rId3"/>
              </a:rPr>
              <a:t> </a:t>
            </a:r>
            <a:r>
              <a:rPr lang="nl-NL" err="1">
                <a:hlinkClick r:id="rId3"/>
              </a:rPr>
              <a:t>learn</a:t>
            </a:r>
            <a:r>
              <a:rPr lang="nl-NL">
                <a:hlinkClick r:id="rId3"/>
              </a:rPr>
              <a:t> Git</a:t>
            </a:r>
            <a:r>
              <a:rPr lang="nl-NL"/>
              <a:t>. (must have </a:t>
            </a:r>
            <a:r>
              <a:rPr lang="nl-NL" err="1"/>
              <a:t>knowledge</a:t>
            </a:r>
            <a:r>
              <a:rPr lang="nl-NL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nl-NL" err="1">
                <a:hlinkClick r:id="rId4"/>
              </a:rPr>
              <a:t>Automating</a:t>
            </a:r>
            <a:r>
              <a:rPr lang="nl-NL">
                <a:hlinkClick r:id="rId4"/>
              </a:rPr>
              <a:t> Azure </a:t>
            </a:r>
            <a:r>
              <a:rPr lang="nl-NL" err="1">
                <a:hlinkClick r:id="rId4"/>
              </a:rPr>
              <a:t>Workloads</a:t>
            </a:r>
            <a:r>
              <a:rPr lang="nl-NL"/>
              <a:t> (must have </a:t>
            </a:r>
            <a:r>
              <a:rPr lang="nl-NL" err="1"/>
              <a:t>knowledge</a:t>
            </a:r>
            <a:r>
              <a:rPr lang="nl-NL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en-US">
                <a:hlinkClick r:id="rId5"/>
              </a:rPr>
              <a:t>Continuous Integration and Continuous Deployment</a:t>
            </a:r>
            <a:r>
              <a:rPr lang="en-US"/>
              <a:t> </a:t>
            </a:r>
            <a:r>
              <a:rPr lang="nl-NL"/>
              <a:t>(must have </a:t>
            </a:r>
            <a:r>
              <a:rPr lang="nl-NL" err="1"/>
              <a:t>knowledge</a:t>
            </a:r>
            <a:r>
              <a:rPr lang="nl-NL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nl-NL">
                <a:hlinkClick r:id="rId6"/>
              </a:rPr>
              <a:t>DevOps </a:t>
            </a:r>
            <a:r>
              <a:rPr lang="nl-NL" err="1">
                <a:hlinkClick r:id="rId6"/>
              </a:rPr>
              <a:t>Practices</a:t>
            </a:r>
            <a:r>
              <a:rPr lang="nl-NL">
                <a:hlinkClick r:id="rId6"/>
              </a:rPr>
              <a:t> and </a:t>
            </a:r>
            <a:r>
              <a:rPr lang="nl-NL" err="1">
                <a:hlinkClick r:id="rId6"/>
              </a:rPr>
              <a:t>Principles</a:t>
            </a:r>
            <a:r>
              <a:rPr lang="nl-NL"/>
              <a:t> (</a:t>
            </a:r>
            <a:r>
              <a:rPr lang="nl-NL" err="1"/>
              <a:t>optional</a:t>
            </a:r>
            <a:r>
              <a:rPr lang="nl-NL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nl-NL">
                <a:hlinkClick r:id="rId7"/>
              </a:rPr>
              <a:t>Azure </a:t>
            </a:r>
            <a:r>
              <a:rPr lang="nl-NL" err="1">
                <a:hlinkClick r:id="rId7"/>
              </a:rPr>
              <a:t>Repos</a:t>
            </a:r>
            <a:r>
              <a:rPr lang="nl-NL">
                <a:hlinkClick r:id="rId7"/>
              </a:rPr>
              <a:t> Git tutorial</a:t>
            </a:r>
            <a:r>
              <a:rPr lang="nl-NL"/>
              <a:t> (</a:t>
            </a:r>
            <a:r>
              <a:rPr lang="nl-NL" err="1"/>
              <a:t>optional</a:t>
            </a:r>
            <a:r>
              <a:rPr lang="nl-NL"/>
              <a:t>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D27D5D-5BE3-4C7C-952F-DDD1BF02E3FC}"/>
              </a:ext>
            </a:extLst>
          </p:cNvPr>
          <p:cNvSpPr/>
          <p:nvPr/>
        </p:nvSpPr>
        <p:spPr>
          <a:xfrm>
            <a:off x="1144161" y="4698861"/>
            <a:ext cx="1021075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/>
              <a:t>… share diagram </a:t>
            </a:r>
            <a:r>
              <a:rPr lang="nl-NL" err="1"/>
              <a:t>within</a:t>
            </a:r>
            <a:r>
              <a:rPr lang="nl-NL"/>
              <a:t> a week,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give</a:t>
            </a:r>
            <a:r>
              <a:rPr lang="nl-NL"/>
              <a:t> </a:t>
            </a:r>
            <a:r>
              <a:rPr lang="nl-NL" err="1"/>
              <a:t>us</a:t>
            </a:r>
            <a:r>
              <a:rPr lang="nl-NL"/>
              <a:t> time </a:t>
            </a:r>
            <a:r>
              <a:rPr lang="nl-NL" err="1"/>
              <a:t>to</a:t>
            </a:r>
            <a:r>
              <a:rPr lang="nl-NL"/>
              <a:t> look.</a:t>
            </a:r>
          </a:p>
          <a:p>
            <a:endParaRPr lang="nl-NL"/>
          </a:p>
          <a:p>
            <a:r>
              <a:rPr lang="nl-NL" err="1"/>
              <a:t>You</a:t>
            </a:r>
            <a:r>
              <a:rPr lang="nl-NL"/>
              <a:t> wil get a link and access </a:t>
            </a:r>
            <a:r>
              <a:rPr lang="nl-NL" err="1"/>
              <a:t>to</a:t>
            </a:r>
            <a:r>
              <a:rPr lang="nl-NL"/>
              <a:t> Azure DevOps and </a:t>
            </a:r>
            <a:r>
              <a:rPr lang="nl-NL" err="1"/>
              <a:t>an</a:t>
            </a:r>
            <a:r>
              <a:rPr lang="nl-NL"/>
              <a:t> Azure resource </a:t>
            </a:r>
            <a:r>
              <a:rPr lang="nl-NL" err="1"/>
              <a:t>group</a:t>
            </a:r>
            <a:r>
              <a:rPr lang="nl-NL"/>
              <a:t>, </a:t>
            </a:r>
            <a:r>
              <a:rPr lang="nl-NL" err="1"/>
              <a:t>try</a:t>
            </a:r>
            <a:r>
              <a:rPr lang="nl-NL"/>
              <a:t>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this</a:t>
            </a:r>
            <a:r>
              <a:rPr lang="nl-NL"/>
              <a:t> access </a:t>
            </a:r>
            <a:r>
              <a:rPr lang="nl-NL" err="1"/>
              <a:t>works</a:t>
            </a:r>
            <a:r>
              <a:rPr lang="nl-NL"/>
              <a:t> </a:t>
            </a:r>
            <a:r>
              <a:rPr lang="nl-NL" err="1"/>
              <a:t>before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workshop.</a:t>
            </a:r>
          </a:p>
          <a:p>
            <a:endParaRPr lang="nl-NL"/>
          </a:p>
          <a:p>
            <a:r>
              <a:rPr lang="nl-NL"/>
              <a:t>Get </a:t>
            </a:r>
            <a:r>
              <a:rPr lang="nl-NL" err="1"/>
              <a:t>your</a:t>
            </a:r>
            <a:r>
              <a:rPr lang="nl-NL"/>
              <a:t> development environment ready: </a:t>
            </a:r>
            <a:r>
              <a:rPr lang="nl-NL">
                <a:hlinkClick r:id="rId8"/>
              </a:rPr>
              <a:t>https://cloudboost.cloud/docs/DevSetup/</a:t>
            </a:r>
            <a:r>
              <a:rPr lang="nl-NL"/>
              <a:t>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EB5D69-6F2D-44C0-94C7-8CA860050DBC}"/>
              </a:ext>
            </a:extLst>
          </p:cNvPr>
          <p:cNvSpPr/>
          <p:nvPr/>
        </p:nvSpPr>
        <p:spPr>
          <a:xfrm>
            <a:off x="1123691" y="4296376"/>
            <a:ext cx="103219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2800" err="1">
                <a:solidFill>
                  <a:schemeClr val="tx2"/>
                </a:solidFill>
              </a:rPr>
              <a:t>Decide</a:t>
            </a:r>
            <a:r>
              <a:rPr lang="nl-NL" sz="2800">
                <a:solidFill>
                  <a:schemeClr val="tx2"/>
                </a:solidFill>
              </a:rPr>
              <a:t> on </a:t>
            </a:r>
            <a:r>
              <a:rPr lang="nl-NL" sz="2800" err="1">
                <a:solidFill>
                  <a:schemeClr val="tx2"/>
                </a:solidFill>
              </a:rPr>
              <a:t>the</a:t>
            </a:r>
            <a:r>
              <a:rPr lang="nl-NL" sz="2800">
                <a:solidFill>
                  <a:schemeClr val="tx2"/>
                </a:solidFill>
              </a:rPr>
              <a:t> Cloud Infra </a:t>
            </a:r>
            <a:r>
              <a:rPr lang="nl-NL" sz="2800" err="1">
                <a:solidFill>
                  <a:schemeClr val="tx2"/>
                </a:solidFill>
              </a:rPr>
              <a:t>to</a:t>
            </a:r>
            <a:r>
              <a:rPr lang="nl-NL" sz="2800">
                <a:solidFill>
                  <a:schemeClr val="tx2"/>
                </a:solidFill>
              </a:rPr>
              <a:t> </a:t>
            </a:r>
            <a:r>
              <a:rPr lang="nl-NL" sz="2800" err="1">
                <a:solidFill>
                  <a:schemeClr val="tx2"/>
                </a:solidFill>
              </a:rPr>
              <a:t>create</a:t>
            </a:r>
            <a:r>
              <a:rPr lang="nl-NL" sz="2800">
                <a:solidFill>
                  <a:schemeClr val="tx2"/>
                </a:solidFill>
              </a:rPr>
              <a:t> </a:t>
            </a:r>
            <a:r>
              <a:rPr lang="nl-NL" sz="2800" err="1">
                <a:solidFill>
                  <a:schemeClr val="tx2"/>
                </a:solidFill>
              </a:rPr>
              <a:t>during</a:t>
            </a:r>
            <a:r>
              <a:rPr lang="nl-NL" sz="2800">
                <a:solidFill>
                  <a:schemeClr val="tx2"/>
                </a:solidFill>
              </a:rPr>
              <a:t> </a:t>
            </a:r>
            <a:r>
              <a:rPr lang="nl-NL" sz="2800" err="1">
                <a:solidFill>
                  <a:schemeClr val="tx2"/>
                </a:solidFill>
              </a:rPr>
              <a:t>hackaton</a:t>
            </a:r>
            <a:endParaRPr lang="nl-NL" sz="28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276546"/>
      </p:ext>
    </p:extLst>
  </p:cSld>
  <p:clrMapOvr>
    <a:masterClrMapping/>
  </p:clrMapOvr>
  <p:transition spd="slow" advClick="0" advTm="20000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5407803"/>
      </p:ext>
    </p:extLst>
  </p:cSld>
  <p:clrMapOvr>
    <a:masterClrMapping/>
  </p:clrMapOvr>
  <p:transition spd="slow" advClick="0" advTm="20000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064F6C1-3E4A-4DCE-9327-880C4D940A5F}"/>
              </a:ext>
            </a:extLst>
          </p:cNvPr>
          <p:cNvSpPr/>
          <p:nvPr/>
        </p:nvSpPr>
        <p:spPr>
          <a:xfrm>
            <a:off x="1271464" y="1484784"/>
            <a:ext cx="10297144" cy="452310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nl-NL" sz="54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Training Part 1</a:t>
            </a:r>
          </a:p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nl-NL" sz="54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 </a:t>
            </a:r>
          </a:p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nl-NL" sz="54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The </a:t>
            </a:r>
            <a:r>
              <a:rPr lang="nl-NL" sz="5400" err="1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why</a:t>
            </a:r>
            <a:r>
              <a:rPr lang="nl-NL" sz="54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 and </a:t>
            </a:r>
            <a:r>
              <a:rPr lang="nl-NL" sz="5400" err="1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what</a:t>
            </a:r>
            <a:r>
              <a:rPr lang="nl-NL" sz="54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 </a:t>
            </a:r>
            <a:br>
              <a:rPr lang="nl-NL" sz="54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</a:br>
            <a:r>
              <a:rPr lang="en-US" sz="5400"/>
              <a:t>The As Code paradigm</a:t>
            </a:r>
            <a:r>
              <a:rPr lang="nl-NL" sz="54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.</a:t>
            </a:r>
            <a:endParaRPr lang="en-NL" sz="5400">
              <a:solidFill>
                <a:schemeClr val="tx2"/>
              </a:solidFill>
              <a:latin typeface="Ubuntu" panose="020B050403060203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00551"/>
      </p:ext>
    </p:extLst>
  </p:cSld>
  <p:clrMapOvr>
    <a:masterClrMapping/>
  </p:clrMapOvr>
  <p:transition spd="slow" advClick="0" advTm="20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8">
            <a:extLst>
              <a:ext uri="{FF2B5EF4-FFF2-40B4-BE49-F238E27FC236}">
                <a16:creationId xmlns:a16="http://schemas.microsoft.com/office/drawing/2014/main" id="{8D0851AA-519C-4909-9FD2-29F505CF0357}"/>
              </a:ext>
            </a:extLst>
          </p:cNvPr>
          <p:cNvSpPr>
            <a:spLocks/>
          </p:cNvSpPr>
          <p:nvPr/>
        </p:nvSpPr>
        <p:spPr bwMode="auto">
          <a:xfrm>
            <a:off x="1100366" y="1519452"/>
            <a:ext cx="11236227" cy="5373216"/>
          </a:xfrm>
          <a:custGeom>
            <a:avLst/>
            <a:gdLst>
              <a:gd name="T0" fmla="*/ 0 w 538"/>
              <a:gd name="T1" fmla="*/ 807 h 807"/>
              <a:gd name="T2" fmla="*/ 0 w 538"/>
              <a:gd name="T3" fmla="*/ 325 h 807"/>
              <a:gd name="T4" fmla="*/ 233 w 538"/>
              <a:gd name="T5" fmla="*/ 50 h 807"/>
              <a:gd name="T6" fmla="*/ 538 w 538"/>
              <a:gd name="T7" fmla="*/ 0 h 807"/>
              <a:gd name="T8" fmla="*/ 538 w 538"/>
              <a:gd name="T9" fmla="*/ 807 h 807"/>
              <a:gd name="T10" fmla="*/ 0 w 538"/>
              <a:gd name="T11" fmla="*/ 807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8" h="807">
                <a:moveTo>
                  <a:pt x="0" y="807"/>
                </a:moveTo>
                <a:cubicBezTo>
                  <a:pt x="0" y="325"/>
                  <a:pt x="0" y="325"/>
                  <a:pt x="0" y="325"/>
                </a:cubicBezTo>
                <a:cubicBezTo>
                  <a:pt x="0" y="188"/>
                  <a:pt x="98" y="72"/>
                  <a:pt x="233" y="50"/>
                </a:cubicBezTo>
                <a:cubicBezTo>
                  <a:pt x="538" y="0"/>
                  <a:pt x="538" y="0"/>
                  <a:pt x="538" y="0"/>
                </a:cubicBezTo>
                <a:cubicBezTo>
                  <a:pt x="538" y="807"/>
                  <a:pt x="538" y="807"/>
                  <a:pt x="538" y="807"/>
                </a:cubicBezTo>
                <a:lnTo>
                  <a:pt x="0" y="80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801805-FF76-40FC-AEC6-65D7443CCAEC}"/>
              </a:ext>
            </a:extLst>
          </p:cNvPr>
          <p:cNvSpPr/>
          <p:nvPr/>
        </p:nvSpPr>
        <p:spPr>
          <a:xfrm>
            <a:off x="2567608" y="3068960"/>
            <a:ext cx="1048848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>
                <a:solidFill>
                  <a:schemeClr val="bg1"/>
                </a:solidFill>
              </a:rPr>
              <a:t>Consistency at scale</a:t>
            </a:r>
          </a:p>
          <a:p>
            <a:endParaRPr lang="en-US" sz="3200">
              <a:solidFill>
                <a:schemeClr val="bg1"/>
              </a:solidFill>
            </a:endParaRPr>
          </a:p>
          <a:p>
            <a:r>
              <a:rPr lang="en-US" sz="3200">
                <a:solidFill>
                  <a:schemeClr val="bg1"/>
                </a:solidFill>
              </a:rPr>
              <a:t>Maximum Cloud benefits </a:t>
            </a:r>
          </a:p>
          <a:p>
            <a:endParaRPr lang="en-US" sz="3200">
              <a:solidFill>
                <a:schemeClr val="bg1"/>
              </a:solidFill>
            </a:endParaRPr>
          </a:p>
          <a:p>
            <a:r>
              <a:rPr lang="en-US" sz="3200">
                <a:solidFill>
                  <a:schemeClr val="bg1"/>
                </a:solidFill>
              </a:rPr>
              <a:t>Enterprise DevOps challeng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877F170-9361-4041-8135-F77A2ECF5BDF}"/>
              </a:ext>
            </a:extLst>
          </p:cNvPr>
          <p:cNvSpPr/>
          <p:nvPr/>
        </p:nvSpPr>
        <p:spPr>
          <a:xfrm>
            <a:off x="551384" y="677534"/>
            <a:ext cx="7130478" cy="84023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nl-NL" sz="5400" err="1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When</a:t>
            </a:r>
            <a:endParaRPr lang="en-NL" sz="5400">
              <a:solidFill>
                <a:schemeClr val="tx2"/>
              </a:solidFill>
              <a:latin typeface="Ubuntu" panose="020B050403060203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8279392"/>
      </p:ext>
    </p:extLst>
  </p:cSld>
  <p:clrMapOvr>
    <a:masterClrMapping/>
  </p:clrMapOvr>
  <p:transition spd="slow" advClick="0" advTm="20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D2ECA29-6AEA-40FB-92B8-C6C57246F03D}"/>
              </a:ext>
            </a:extLst>
          </p:cNvPr>
          <p:cNvSpPr/>
          <p:nvPr/>
        </p:nvSpPr>
        <p:spPr>
          <a:xfrm>
            <a:off x="2855640" y="2420888"/>
            <a:ext cx="612068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/>
              <a:t>Stop trying to turn all your developers into DevOps pros, rather speed up on business functionality…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993FDF-7488-493F-8A7F-A6F74A45202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22522" y="2636912"/>
            <a:ext cx="2422150" cy="408437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273108D-0077-498F-8AF9-14AEF1A9B839}"/>
              </a:ext>
            </a:extLst>
          </p:cNvPr>
          <p:cNvSpPr txBox="1"/>
          <p:nvPr/>
        </p:nvSpPr>
        <p:spPr>
          <a:xfrm>
            <a:off x="263352" y="260648"/>
            <a:ext cx="9706799" cy="959373"/>
          </a:xfrm>
          <a:prstGeom prst="rect">
            <a:avLst/>
          </a:prstGeom>
          <a:noFill/>
        </p:spPr>
        <p:txBody>
          <a:bodyPr wrap="none" lIns="48000" tIns="48000" rIns="48000" bIns="48000" rtlCol="0" anchor="ctr">
            <a:noAutofit/>
          </a:bodyPr>
          <a:lstStyle/>
          <a:p>
            <a:r>
              <a:rPr lang="en-US" sz="42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What slows your team down?</a:t>
            </a:r>
          </a:p>
        </p:txBody>
      </p:sp>
    </p:spTree>
    <p:extLst>
      <p:ext uri="{BB962C8B-B14F-4D97-AF65-F5344CB8AC3E}">
        <p14:creationId xmlns:p14="http://schemas.microsoft.com/office/powerpoint/2010/main" val="565443391"/>
      </p:ext>
    </p:extLst>
  </p:cSld>
  <p:clrMapOvr>
    <a:masterClrMapping/>
  </p:clrMapOvr>
  <p:transition spd="slow" advClick="0" advTm="20000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09AA8D33-15C2-4224-A356-17F4399987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56473" y="-1012455"/>
            <a:ext cx="5516212" cy="6446329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D185CCDE-4ABF-4316-A54A-201918FE115C}"/>
              </a:ext>
            </a:extLst>
          </p:cNvPr>
          <p:cNvSpPr/>
          <p:nvPr/>
        </p:nvSpPr>
        <p:spPr>
          <a:xfrm>
            <a:off x="-778321" y="-1087045"/>
            <a:ext cx="6054522" cy="6786382"/>
          </a:xfrm>
          <a:prstGeom prst="rect">
            <a:avLst/>
          </a:prstGeom>
          <a:solidFill>
            <a:schemeClr val="bg1">
              <a:alpha val="8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88F20-7E5D-4C4E-923C-1FDD237CD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5400">
                <a:latin typeface="Ubuntu" panose="020B0504030602030204" pitchFamily="34" charset="0"/>
              </a:rPr>
              <a:t>Cloud Adoption</a:t>
            </a:r>
            <a:endParaRPr lang="en-GB" sz="5400">
              <a:latin typeface="Ubuntu" panose="020B0504030602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8A2063-761D-4A24-BB8D-54DABB159AB5}"/>
              </a:ext>
            </a:extLst>
          </p:cNvPr>
          <p:cNvSpPr/>
          <p:nvPr/>
        </p:nvSpPr>
        <p:spPr>
          <a:xfrm>
            <a:off x="2982655" y="2919002"/>
            <a:ext cx="1525638" cy="3943099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4407A94-8F8C-4CD6-9FC8-7C20452E9E0B}"/>
              </a:ext>
            </a:extLst>
          </p:cNvPr>
          <p:cNvSpPr/>
          <p:nvPr/>
        </p:nvSpPr>
        <p:spPr>
          <a:xfrm>
            <a:off x="4772751" y="2914899"/>
            <a:ext cx="1525638" cy="3943099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3313EE-ADA2-4F89-9B42-D9EA897D28D1}"/>
              </a:ext>
            </a:extLst>
          </p:cNvPr>
          <p:cNvSpPr/>
          <p:nvPr/>
        </p:nvSpPr>
        <p:spPr>
          <a:xfrm>
            <a:off x="7132274" y="2914901"/>
            <a:ext cx="1525638" cy="3943099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2546E3-7B35-42AB-9833-CA32D26B29D8}"/>
              </a:ext>
            </a:extLst>
          </p:cNvPr>
          <p:cNvSpPr/>
          <p:nvPr/>
        </p:nvSpPr>
        <p:spPr>
          <a:xfrm>
            <a:off x="8972760" y="2914901"/>
            <a:ext cx="1525638" cy="3943099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90456A-12FD-4D27-AE25-EEE7F788CBC3}"/>
              </a:ext>
            </a:extLst>
          </p:cNvPr>
          <p:cNvSpPr/>
          <p:nvPr/>
        </p:nvSpPr>
        <p:spPr>
          <a:xfrm>
            <a:off x="1319804" y="2940468"/>
            <a:ext cx="1525638" cy="3943099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032171-A3FD-425A-9737-FD228890FDBA}"/>
              </a:ext>
            </a:extLst>
          </p:cNvPr>
          <p:cNvSpPr/>
          <p:nvPr/>
        </p:nvSpPr>
        <p:spPr>
          <a:xfrm>
            <a:off x="2479463" y="1833353"/>
            <a:ext cx="25546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Migrate to the Cloud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9035669-C160-4E0D-AE98-D1A40FE75509}"/>
              </a:ext>
            </a:extLst>
          </p:cNvPr>
          <p:cNvSpPr/>
          <p:nvPr/>
        </p:nvSpPr>
        <p:spPr>
          <a:xfrm>
            <a:off x="7388394" y="1833353"/>
            <a:ext cx="27263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Cloud Native System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FBE069-6688-4EA8-A465-DA64A44DD828}"/>
              </a:ext>
            </a:extLst>
          </p:cNvPr>
          <p:cNvSpPr/>
          <p:nvPr/>
        </p:nvSpPr>
        <p:spPr>
          <a:xfrm>
            <a:off x="1506557" y="2914902"/>
            <a:ext cx="111088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host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lift- shift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4D88E8-222C-47DA-AEDA-095D48FB770A}"/>
              </a:ext>
            </a:extLst>
          </p:cNvPr>
          <p:cNvSpPr/>
          <p:nvPr/>
        </p:nvSpPr>
        <p:spPr>
          <a:xfrm>
            <a:off x="3178784" y="2914902"/>
            <a:ext cx="115127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factor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</a:t>
            </a:r>
            <a:r>
              <a:rPr kumimoji="0" lang="nl-NL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deploy</a:t>
            </a: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FACFC9-D160-491C-A445-1A667CC029AD}"/>
              </a:ext>
            </a:extLst>
          </p:cNvPr>
          <p:cNvSpPr/>
          <p:nvPr/>
        </p:nvSpPr>
        <p:spPr>
          <a:xfrm>
            <a:off x="4940696" y="2914902"/>
            <a:ext cx="98616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vi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vop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F7827EC-C119-4ACD-956F-965FF1522980}"/>
              </a:ext>
            </a:extLst>
          </p:cNvPr>
          <p:cNvSpPr/>
          <p:nvPr/>
        </p:nvSpPr>
        <p:spPr>
          <a:xfrm>
            <a:off x="7375176" y="2914902"/>
            <a:ext cx="103983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build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</a:t>
            </a:r>
            <a:r>
              <a:rPr kumimoji="0" lang="nl-NL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vops</a:t>
            </a: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EF0727-5D07-4E3C-BC08-637874E97C08}"/>
              </a:ext>
            </a:extLst>
          </p:cNvPr>
          <p:cNvSpPr/>
          <p:nvPr/>
        </p:nvSpPr>
        <p:spPr>
          <a:xfrm>
            <a:off x="9242495" y="2914902"/>
            <a:ext cx="98616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e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</a:t>
            </a:r>
            <a:r>
              <a:rPr kumimoji="0" lang="nl-NL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vops</a:t>
            </a: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76B9D4FC-953E-4EAF-B2D0-BA9F969CE716}"/>
              </a:ext>
            </a:extLst>
          </p:cNvPr>
          <p:cNvCxnSpPr>
            <a:stCxn id="8" idx="2"/>
            <a:endCxn id="10" idx="0"/>
          </p:cNvCxnSpPr>
          <p:nvPr/>
        </p:nvCxnSpPr>
        <p:spPr>
          <a:xfrm rot="5400000">
            <a:off x="2553291" y="1711392"/>
            <a:ext cx="712217" cy="1694802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408012EB-5A39-46A4-8851-94BA03784220}"/>
              </a:ext>
            </a:extLst>
          </p:cNvPr>
          <p:cNvCxnSpPr>
            <a:stCxn id="8" idx="2"/>
            <a:endCxn id="11" idx="0"/>
          </p:cNvCxnSpPr>
          <p:nvPr/>
        </p:nvCxnSpPr>
        <p:spPr>
          <a:xfrm rot="5400000">
            <a:off x="3399503" y="2557604"/>
            <a:ext cx="712217" cy="2378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13F89F01-3ED1-48FA-9F22-98428CC944E3}"/>
              </a:ext>
            </a:extLst>
          </p:cNvPr>
          <p:cNvCxnSpPr>
            <a:stCxn id="8" idx="2"/>
            <a:endCxn id="12" idx="0"/>
          </p:cNvCxnSpPr>
          <p:nvPr/>
        </p:nvCxnSpPr>
        <p:spPr>
          <a:xfrm rot="16200000" flipH="1">
            <a:off x="4239182" y="1720303"/>
            <a:ext cx="712217" cy="1676980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3DB31C77-1945-4A1F-8EAC-2A3005814DA6}"/>
              </a:ext>
            </a:extLst>
          </p:cNvPr>
          <p:cNvCxnSpPr>
            <a:cxnSpLocks/>
            <a:stCxn id="9" idx="2"/>
            <a:endCxn id="13" idx="0"/>
          </p:cNvCxnSpPr>
          <p:nvPr/>
        </p:nvCxnSpPr>
        <p:spPr>
          <a:xfrm rot="5400000">
            <a:off x="7967233" y="2130546"/>
            <a:ext cx="712217" cy="856494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B5BEAA78-BDB0-4AC1-9712-BFB685C214C7}"/>
              </a:ext>
            </a:extLst>
          </p:cNvPr>
          <p:cNvCxnSpPr>
            <a:cxnSpLocks/>
            <a:stCxn id="9" idx="2"/>
            <a:endCxn id="14" idx="0"/>
          </p:cNvCxnSpPr>
          <p:nvPr/>
        </p:nvCxnSpPr>
        <p:spPr>
          <a:xfrm rot="16200000" flipH="1">
            <a:off x="8887475" y="2066797"/>
            <a:ext cx="712217" cy="983991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937A968-4D9E-4B71-A3E5-24200CE001A3}"/>
              </a:ext>
            </a:extLst>
          </p:cNvPr>
          <p:cNvGrpSpPr/>
          <p:nvPr/>
        </p:nvGrpSpPr>
        <p:grpSpPr>
          <a:xfrm>
            <a:off x="1332272" y="6543519"/>
            <a:ext cx="1511018" cy="340049"/>
            <a:chOff x="1332272" y="6543519"/>
            <a:chExt cx="1511018" cy="340049"/>
          </a:xfrm>
          <a:solidFill>
            <a:schemeClr val="accent1"/>
          </a:solidFill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3C556A5-0356-4754-BD5E-ED580DA52FCF}"/>
                </a:ext>
              </a:extLst>
            </p:cNvPr>
            <p:cNvSpPr/>
            <p:nvPr/>
          </p:nvSpPr>
          <p:spPr>
            <a:xfrm>
              <a:off x="1332272" y="6543520"/>
              <a:ext cx="1511018" cy="34004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7E6DD1B-09A4-4FDE-B587-9014E2D8FDF7}"/>
                </a:ext>
              </a:extLst>
            </p:cNvPr>
            <p:cNvSpPr txBox="1"/>
            <p:nvPr/>
          </p:nvSpPr>
          <p:spPr>
            <a:xfrm>
              <a:off x="1459671" y="6543519"/>
              <a:ext cx="914400" cy="205422"/>
            </a:xfrm>
            <a:prstGeom prst="rect">
              <a:avLst/>
            </a:prstGeom>
            <a:grpFill/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oud benefits</a:t>
              </a:r>
              <a:endPara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F9B6AB1-B8F7-40E6-A6AD-063C091F556B}"/>
              </a:ext>
            </a:extLst>
          </p:cNvPr>
          <p:cNvGrpSpPr/>
          <p:nvPr/>
        </p:nvGrpSpPr>
        <p:grpSpPr>
          <a:xfrm>
            <a:off x="2998913" y="5610974"/>
            <a:ext cx="1511018" cy="1247027"/>
            <a:chOff x="2998913" y="5610974"/>
            <a:chExt cx="1511018" cy="1247027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DFD5F40-BBAE-48C1-ABB8-890756773679}"/>
                </a:ext>
              </a:extLst>
            </p:cNvPr>
            <p:cNvSpPr/>
            <p:nvPr/>
          </p:nvSpPr>
          <p:spPr>
            <a:xfrm>
              <a:off x="2998913" y="5610974"/>
              <a:ext cx="1511018" cy="1247027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6D041D9-9BD7-44E7-94F4-635334C1F35D}"/>
                </a:ext>
              </a:extLst>
            </p:cNvPr>
            <p:cNvSpPr txBox="1"/>
            <p:nvPr/>
          </p:nvSpPr>
          <p:spPr>
            <a:xfrm>
              <a:off x="3126945" y="5943603"/>
              <a:ext cx="914400" cy="20542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oud benefits</a:t>
              </a:r>
              <a:endPara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88B6CFA-E5F4-4F83-8EE2-57ED033A2423}"/>
              </a:ext>
            </a:extLst>
          </p:cNvPr>
          <p:cNvGrpSpPr/>
          <p:nvPr/>
        </p:nvGrpSpPr>
        <p:grpSpPr>
          <a:xfrm>
            <a:off x="4780061" y="4792475"/>
            <a:ext cx="1511018" cy="2069627"/>
            <a:chOff x="4780061" y="5237155"/>
            <a:chExt cx="1511018" cy="1624946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9B3BC4E-9118-4489-ACA0-33084BC01FE8}"/>
                </a:ext>
              </a:extLst>
            </p:cNvPr>
            <p:cNvSpPr/>
            <p:nvPr/>
          </p:nvSpPr>
          <p:spPr>
            <a:xfrm>
              <a:off x="4780061" y="5237155"/>
              <a:ext cx="1511018" cy="1624946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9BF1A05-1899-4981-B2AE-857ECDC6D3F0}"/>
                </a:ext>
              </a:extLst>
            </p:cNvPr>
            <p:cNvSpPr txBox="1"/>
            <p:nvPr/>
          </p:nvSpPr>
          <p:spPr>
            <a:xfrm>
              <a:off x="4940696" y="5323729"/>
              <a:ext cx="914400" cy="20542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oud benefits</a:t>
              </a:r>
              <a:endPara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12FF5A2-4A2F-4204-97DF-9743A8A8940C}"/>
              </a:ext>
            </a:extLst>
          </p:cNvPr>
          <p:cNvGrpSpPr/>
          <p:nvPr/>
        </p:nvGrpSpPr>
        <p:grpSpPr>
          <a:xfrm>
            <a:off x="7139584" y="3849792"/>
            <a:ext cx="3351503" cy="3033775"/>
            <a:chOff x="7139584" y="3849792"/>
            <a:chExt cx="3351503" cy="3033775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2749EB1-F9A8-49ED-9B5C-1B2908774E3F}"/>
                </a:ext>
              </a:extLst>
            </p:cNvPr>
            <p:cNvSpPr/>
            <p:nvPr/>
          </p:nvSpPr>
          <p:spPr>
            <a:xfrm>
              <a:off x="7139584" y="3970758"/>
              <a:ext cx="1511018" cy="2912809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357B49D-FB9A-4CBC-BBEE-AE947FB86ECA}"/>
                </a:ext>
              </a:extLst>
            </p:cNvPr>
            <p:cNvSpPr/>
            <p:nvPr/>
          </p:nvSpPr>
          <p:spPr>
            <a:xfrm>
              <a:off x="8980069" y="3952503"/>
              <a:ext cx="1511018" cy="2912809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73899D8-5B3A-43F1-9514-46F021DA883C}"/>
                </a:ext>
              </a:extLst>
            </p:cNvPr>
            <p:cNvSpPr txBox="1"/>
            <p:nvPr/>
          </p:nvSpPr>
          <p:spPr>
            <a:xfrm>
              <a:off x="7289967" y="3868047"/>
              <a:ext cx="914400" cy="20542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oud benefits</a:t>
              </a:r>
              <a:endPara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60817FB9-1BE4-43BE-814B-930EE9F7E867}"/>
                </a:ext>
              </a:extLst>
            </p:cNvPr>
            <p:cNvSpPr txBox="1"/>
            <p:nvPr/>
          </p:nvSpPr>
          <p:spPr>
            <a:xfrm>
              <a:off x="9152512" y="3849792"/>
              <a:ext cx="914400" cy="20542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oud benefits</a:t>
              </a:r>
              <a:endPara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343F4252-D031-4DD8-9721-1931E1520F6D}"/>
              </a:ext>
            </a:extLst>
          </p:cNvPr>
          <p:cNvSpPr txBox="1"/>
          <p:nvPr/>
        </p:nvSpPr>
        <p:spPr>
          <a:xfrm rot="20574118">
            <a:off x="6337034" y="4257174"/>
            <a:ext cx="1184522" cy="369332"/>
          </a:xfrm>
          <a:prstGeom prst="rect">
            <a:avLst/>
          </a:prstGeom>
          <a:noFill/>
        </p:spPr>
        <p:txBody>
          <a:bodyPr wrap="non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im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8C7471C-EAE2-48E6-B5F8-3C3791FB4884}"/>
              </a:ext>
            </a:extLst>
          </p:cNvPr>
          <p:cNvCxnSpPr>
            <a:cxnSpLocks/>
          </p:cNvCxnSpPr>
          <p:nvPr/>
        </p:nvCxnSpPr>
        <p:spPr>
          <a:xfrm flipV="1">
            <a:off x="1332272" y="3429000"/>
            <a:ext cx="9166126" cy="2912809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840667"/>
      </p:ext>
    </p:extLst>
  </p:cSld>
  <p:clrMapOvr>
    <a:masterClrMapping/>
  </p:clrMapOvr>
  <p:transition spd="slow" advClick="0" advTm="20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5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09AA8D33-15C2-4224-A356-17F4399987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56473" y="-1012455"/>
            <a:ext cx="5516212" cy="6446329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043AB1E5-C840-4508-9D34-CAF33132CF6E}"/>
              </a:ext>
            </a:extLst>
          </p:cNvPr>
          <p:cNvSpPr/>
          <p:nvPr/>
        </p:nvSpPr>
        <p:spPr>
          <a:xfrm>
            <a:off x="-1032792" y="-1179512"/>
            <a:ext cx="6054522" cy="6786382"/>
          </a:xfrm>
          <a:prstGeom prst="rect">
            <a:avLst/>
          </a:prstGeom>
          <a:solidFill>
            <a:schemeClr val="bg1">
              <a:alpha val="8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88F20-7E5D-4C4E-923C-1FDD237CD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5400">
                <a:latin typeface="Ubuntu" panose="020B0504030602030204" pitchFamily="34" charset="0"/>
              </a:rPr>
              <a:t>CloudBoost Library</a:t>
            </a:r>
            <a:endParaRPr lang="en-GB" sz="5400">
              <a:latin typeface="Ubuntu" panose="020B0504030602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8A2063-761D-4A24-BB8D-54DABB159AB5}"/>
              </a:ext>
            </a:extLst>
          </p:cNvPr>
          <p:cNvSpPr/>
          <p:nvPr/>
        </p:nvSpPr>
        <p:spPr>
          <a:xfrm>
            <a:off x="2982655" y="2919002"/>
            <a:ext cx="1525638" cy="3943099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4407A94-8F8C-4CD6-9FC8-7C20452E9E0B}"/>
              </a:ext>
            </a:extLst>
          </p:cNvPr>
          <p:cNvSpPr/>
          <p:nvPr/>
        </p:nvSpPr>
        <p:spPr>
          <a:xfrm>
            <a:off x="4772751" y="2914899"/>
            <a:ext cx="1525638" cy="3943099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3313EE-ADA2-4F89-9B42-D9EA897D28D1}"/>
              </a:ext>
            </a:extLst>
          </p:cNvPr>
          <p:cNvSpPr/>
          <p:nvPr/>
        </p:nvSpPr>
        <p:spPr>
          <a:xfrm>
            <a:off x="7132274" y="2914901"/>
            <a:ext cx="1525638" cy="3943099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2546E3-7B35-42AB-9833-CA32D26B29D8}"/>
              </a:ext>
            </a:extLst>
          </p:cNvPr>
          <p:cNvSpPr/>
          <p:nvPr/>
        </p:nvSpPr>
        <p:spPr>
          <a:xfrm>
            <a:off x="8972760" y="2914901"/>
            <a:ext cx="1525638" cy="3943099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90456A-12FD-4D27-AE25-EEE7F788CBC3}"/>
              </a:ext>
            </a:extLst>
          </p:cNvPr>
          <p:cNvSpPr/>
          <p:nvPr/>
        </p:nvSpPr>
        <p:spPr>
          <a:xfrm>
            <a:off x="1319804" y="2940468"/>
            <a:ext cx="1525638" cy="3943099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032171-A3FD-425A-9737-FD228890FDBA}"/>
              </a:ext>
            </a:extLst>
          </p:cNvPr>
          <p:cNvSpPr/>
          <p:nvPr/>
        </p:nvSpPr>
        <p:spPr>
          <a:xfrm>
            <a:off x="2479463" y="1833353"/>
            <a:ext cx="25546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igrate to the Cloud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9035669-C160-4E0D-AE98-D1A40FE75509}"/>
              </a:ext>
            </a:extLst>
          </p:cNvPr>
          <p:cNvSpPr/>
          <p:nvPr/>
        </p:nvSpPr>
        <p:spPr>
          <a:xfrm>
            <a:off x="7388394" y="1833353"/>
            <a:ext cx="27263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loud Native System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FBE069-6688-4EA8-A465-DA64A44DD828}"/>
              </a:ext>
            </a:extLst>
          </p:cNvPr>
          <p:cNvSpPr/>
          <p:nvPr/>
        </p:nvSpPr>
        <p:spPr>
          <a:xfrm>
            <a:off x="1506557" y="2914902"/>
            <a:ext cx="111088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host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lift- shift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4D88E8-222C-47DA-AEDA-095D48FB770A}"/>
              </a:ext>
            </a:extLst>
          </p:cNvPr>
          <p:cNvSpPr/>
          <p:nvPr/>
        </p:nvSpPr>
        <p:spPr>
          <a:xfrm>
            <a:off x="3178784" y="2914902"/>
            <a:ext cx="115127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factor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</a:t>
            </a:r>
            <a:r>
              <a:rPr kumimoji="0" lang="nl-NL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deploy</a:t>
            </a: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FACFC9-D160-491C-A445-1A667CC029AD}"/>
              </a:ext>
            </a:extLst>
          </p:cNvPr>
          <p:cNvSpPr/>
          <p:nvPr/>
        </p:nvSpPr>
        <p:spPr>
          <a:xfrm>
            <a:off x="4940696" y="2914902"/>
            <a:ext cx="98616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vi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vop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F7827EC-C119-4ACD-956F-965FF1522980}"/>
              </a:ext>
            </a:extLst>
          </p:cNvPr>
          <p:cNvSpPr/>
          <p:nvPr/>
        </p:nvSpPr>
        <p:spPr>
          <a:xfrm>
            <a:off x="7375176" y="2914902"/>
            <a:ext cx="103983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build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</a:t>
            </a:r>
            <a:r>
              <a:rPr kumimoji="0" lang="nl-NL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vops</a:t>
            </a: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EF0727-5D07-4E3C-BC08-637874E97C08}"/>
              </a:ext>
            </a:extLst>
          </p:cNvPr>
          <p:cNvSpPr/>
          <p:nvPr/>
        </p:nvSpPr>
        <p:spPr>
          <a:xfrm>
            <a:off x="9242495" y="2914902"/>
            <a:ext cx="98616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e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</a:t>
            </a:r>
            <a:r>
              <a:rPr kumimoji="0" lang="nl-NL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vops</a:t>
            </a: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76B9D4FC-953E-4EAF-B2D0-BA9F969CE716}"/>
              </a:ext>
            </a:extLst>
          </p:cNvPr>
          <p:cNvCxnSpPr>
            <a:stCxn id="8" idx="2"/>
            <a:endCxn id="10" idx="0"/>
          </p:cNvCxnSpPr>
          <p:nvPr/>
        </p:nvCxnSpPr>
        <p:spPr>
          <a:xfrm rot="5400000">
            <a:off x="2553291" y="1711392"/>
            <a:ext cx="712217" cy="1694802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408012EB-5A39-46A4-8851-94BA03784220}"/>
              </a:ext>
            </a:extLst>
          </p:cNvPr>
          <p:cNvCxnSpPr>
            <a:stCxn id="8" idx="2"/>
            <a:endCxn id="11" idx="0"/>
          </p:cNvCxnSpPr>
          <p:nvPr/>
        </p:nvCxnSpPr>
        <p:spPr>
          <a:xfrm rot="5400000">
            <a:off x="3399503" y="2557604"/>
            <a:ext cx="712217" cy="2378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13F89F01-3ED1-48FA-9F22-98428CC944E3}"/>
              </a:ext>
            </a:extLst>
          </p:cNvPr>
          <p:cNvCxnSpPr>
            <a:stCxn id="8" idx="2"/>
            <a:endCxn id="12" idx="0"/>
          </p:cNvCxnSpPr>
          <p:nvPr/>
        </p:nvCxnSpPr>
        <p:spPr>
          <a:xfrm rot="16200000" flipH="1">
            <a:off x="4239182" y="1720303"/>
            <a:ext cx="712217" cy="1676980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3DB31C77-1945-4A1F-8EAC-2A3005814DA6}"/>
              </a:ext>
            </a:extLst>
          </p:cNvPr>
          <p:cNvCxnSpPr>
            <a:cxnSpLocks/>
            <a:stCxn id="9" idx="2"/>
            <a:endCxn id="13" idx="0"/>
          </p:cNvCxnSpPr>
          <p:nvPr/>
        </p:nvCxnSpPr>
        <p:spPr>
          <a:xfrm rot="5400000">
            <a:off x="7967233" y="2130546"/>
            <a:ext cx="712217" cy="856494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B5BEAA78-BDB0-4AC1-9712-BFB685C214C7}"/>
              </a:ext>
            </a:extLst>
          </p:cNvPr>
          <p:cNvCxnSpPr>
            <a:cxnSpLocks/>
            <a:stCxn id="9" idx="2"/>
            <a:endCxn id="14" idx="0"/>
          </p:cNvCxnSpPr>
          <p:nvPr/>
        </p:nvCxnSpPr>
        <p:spPr>
          <a:xfrm rot="16200000" flipH="1">
            <a:off x="8887475" y="2066797"/>
            <a:ext cx="712217" cy="983991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937A968-4D9E-4B71-A3E5-24200CE001A3}"/>
              </a:ext>
            </a:extLst>
          </p:cNvPr>
          <p:cNvGrpSpPr/>
          <p:nvPr/>
        </p:nvGrpSpPr>
        <p:grpSpPr>
          <a:xfrm>
            <a:off x="1332272" y="6543519"/>
            <a:ext cx="1511018" cy="340049"/>
            <a:chOff x="1332272" y="6543519"/>
            <a:chExt cx="1511018" cy="340049"/>
          </a:xfrm>
          <a:solidFill>
            <a:schemeClr val="accent1"/>
          </a:solidFill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3C556A5-0356-4754-BD5E-ED580DA52FCF}"/>
                </a:ext>
              </a:extLst>
            </p:cNvPr>
            <p:cNvSpPr/>
            <p:nvPr/>
          </p:nvSpPr>
          <p:spPr>
            <a:xfrm>
              <a:off x="1332272" y="6543520"/>
              <a:ext cx="1511018" cy="34004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7E6DD1B-09A4-4FDE-B587-9014E2D8FDF7}"/>
                </a:ext>
              </a:extLst>
            </p:cNvPr>
            <p:cNvSpPr txBox="1"/>
            <p:nvPr/>
          </p:nvSpPr>
          <p:spPr>
            <a:xfrm>
              <a:off x="1459671" y="6543519"/>
              <a:ext cx="914400" cy="205422"/>
            </a:xfrm>
            <a:prstGeom prst="rect">
              <a:avLst/>
            </a:prstGeom>
            <a:grpFill/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oud benefits</a:t>
              </a:r>
              <a:endPara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F9B6AB1-B8F7-40E6-A6AD-063C091F556B}"/>
              </a:ext>
            </a:extLst>
          </p:cNvPr>
          <p:cNvGrpSpPr/>
          <p:nvPr/>
        </p:nvGrpSpPr>
        <p:grpSpPr>
          <a:xfrm>
            <a:off x="2998913" y="5610974"/>
            <a:ext cx="1511018" cy="1247027"/>
            <a:chOff x="2998913" y="5610974"/>
            <a:chExt cx="1511018" cy="1247027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DFD5F40-BBAE-48C1-ABB8-890756773679}"/>
                </a:ext>
              </a:extLst>
            </p:cNvPr>
            <p:cNvSpPr/>
            <p:nvPr/>
          </p:nvSpPr>
          <p:spPr>
            <a:xfrm>
              <a:off x="2998913" y="5610974"/>
              <a:ext cx="1511018" cy="1247027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6D041D9-9BD7-44E7-94F4-635334C1F35D}"/>
                </a:ext>
              </a:extLst>
            </p:cNvPr>
            <p:cNvSpPr txBox="1"/>
            <p:nvPr/>
          </p:nvSpPr>
          <p:spPr>
            <a:xfrm>
              <a:off x="3126945" y="5943603"/>
              <a:ext cx="914400" cy="20542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oud benefits</a:t>
              </a:r>
              <a:endPara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88B6CFA-E5F4-4F83-8EE2-57ED033A2423}"/>
              </a:ext>
            </a:extLst>
          </p:cNvPr>
          <p:cNvGrpSpPr/>
          <p:nvPr/>
        </p:nvGrpSpPr>
        <p:grpSpPr>
          <a:xfrm>
            <a:off x="4780061" y="4792475"/>
            <a:ext cx="1511018" cy="2069627"/>
            <a:chOff x="4780061" y="5237155"/>
            <a:chExt cx="1511018" cy="1624946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9B3BC4E-9118-4489-ACA0-33084BC01FE8}"/>
                </a:ext>
              </a:extLst>
            </p:cNvPr>
            <p:cNvSpPr/>
            <p:nvPr/>
          </p:nvSpPr>
          <p:spPr>
            <a:xfrm>
              <a:off x="4780061" y="5237155"/>
              <a:ext cx="1511018" cy="1624946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9BF1A05-1899-4981-B2AE-857ECDC6D3F0}"/>
                </a:ext>
              </a:extLst>
            </p:cNvPr>
            <p:cNvSpPr txBox="1"/>
            <p:nvPr/>
          </p:nvSpPr>
          <p:spPr>
            <a:xfrm>
              <a:off x="4940696" y="5323729"/>
              <a:ext cx="914400" cy="20542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oud benefits</a:t>
              </a:r>
              <a:endPara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12FF5A2-4A2F-4204-97DF-9743A8A8940C}"/>
              </a:ext>
            </a:extLst>
          </p:cNvPr>
          <p:cNvGrpSpPr/>
          <p:nvPr/>
        </p:nvGrpSpPr>
        <p:grpSpPr>
          <a:xfrm>
            <a:off x="7139584" y="3849792"/>
            <a:ext cx="3351503" cy="3033775"/>
            <a:chOff x="7139584" y="3849792"/>
            <a:chExt cx="3351503" cy="3033775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2749EB1-F9A8-49ED-9B5C-1B2908774E3F}"/>
                </a:ext>
              </a:extLst>
            </p:cNvPr>
            <p:cNvSpPr/>
            <p:nvPr/>
          </p:nvSpPr>
          <p:spPr>
            <a:xfrm>
              <a:off x="7139584" y="3970758"/>
              <a:ext cx="1511018" cy="2912809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357B49D-FB9A-4CBC-BBEE-AE947FB86ECA}"/>
                </a:ext>
              </a:extLst>
            </p:cNvPr>
            <p:cNvSpPr/>
            <p:nvPr/>
          </p:nvSpPr>
          <p:spPr>
            <a:xfrm>
              <a:off x="8980069" y="3952503"/>
              <a:ext cx="1511018" cy="2912809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73899D8-5B3A-43F1-9514-46F021DA883C}"/>
                </a:ext>
              </a:extLst>
            </p:cNvPr>
            <p:cNvSpPr txBox="1"/>
            <p:nvPr/>
          </p:nvSpPr>
          <p:spPr>
            <a:xfrm>
              <a:off x="7289967" y="3868047"/>
              <a:ext cx="914400" cy="20542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oud benefits</a:t>
              </a:r>
              <a:endPara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60817FB9-1BE4-43BE-814B-930EE9F7E867}"/>
                </a:ext>
              </a:extLst>
            </p:cNvPr>
            <p:cNvSpPr txBox="1"/>
            <p:nvPr/>
          </p:nvSpPr>
          <p:spPr>
            <a:xfrm>
              <a:off x="9152512" y="3849792"/>
              <a:ext cx="914400" cy="20542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oud benefits</a:t>
              </a:r>
              <a:endPara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343F4252-D031-4DD8-9721-1931E1520F6D}"/>
              </a:ext>
            </a:extLst>
          </p:cNvPr>
          <p:cNvSpPr txBox="1"/>
          <p:nvPr/>
        </p:nvSpPr>
        <p:spPr>
          <a:xfrm rot="20574118">
            <a:off x="6337034" y="4257174"/>
            <a:ext cx="1184522" cy="369332"/>
          </a:xfrm>
          <a:prstGeom prst="rect">
            <a:avLst/>
          </a:prstGeom>
          <a:noFill/>
        </p:spPr>
        <p:txBody>
          <a:bodyPr wrap="non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im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8C7471C-EAE2-48E6-B5F8-3C3791FB4884}"/>
              </a:ext>
            </a:extLst>
          </p:cNvPr>
          <p:cNvCxnSpPr>
            <a:cxnSpLocks/>
          </p:cNvCxnSpPr>
          <p:nvPr/>
        </p:nvCxnSpPr>
        <p:spPr>
          <a:xfrm flipV="1">
            <a:off x="1332272" y="3429000"/>
            <a:ext cx="9166126" cy="2912809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BBB1D02-97B4-4EC6-A480-ED856265AE05}"/>
              </a:ext>
            </a:extLst>
          </p:cNvPr>
          <p:cNvGrpSpPr/>
          <p:nvPr/>
        </p:nvGrpSpPr>
        <p:grpSpPr>
          <a:xfrm>
            <a:off x="1332272" y="4021070"/>
            <a:ext cx="9166126" cy="2522449"/>
            <a:chOff x="1332272" y="4021070"/>
            <a:chExt cx="9166126" cy="2522449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024DE9F2-A2BC-4AC2-AB9C-FF47F1B535FB}"/>
                </a:ext>
              </a:extLst>
            </p:cNvPr>
            <p:cNvGrpSpPr/>
            <p:nvPr/>
          </p:nvGrpSpPr>
          <p:grpSpPr>
            <a:xfrm>
              <a:off x="1332272" y="4021070"/>
              <a:ext cx="9166126" cy="2522449"/>
              <a:chOff x="1332272" y="4021070"/>
              <a:chExt cx="9166126" cy="2522449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A913A6F-4834-4C3C-AE95-E15FC8B2DD7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32272" y="5540297"/>
                <a:ext cx="9166126" cy="1003222"/>
              </a:xfrm>
              <a:prstGeom prst="line">
                <a:avLst/>
              </a:prstGeom>
              <a:ln w="38100">
                <a:solidFill>
                  <a:srgbClr val="2B0A3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Arrow: Down 41">
                <a:extLst>
                  <a:ext uri="{FF2B5EF4-FFF2-40B4-BE49-F238E27FC236}">
                    <a16:creationId xmlns:a16="http://schemas.microsoft.com/office/drawing/2014/main" id="{D1913FE8-D20A-41F7-A561-86AFE941CB76}"/>
                  </a:ext>
                </a:extLst>
              </p:cNvPr>
              <p:cNvSpPr/>
              <p:nvPr/>
            </p:nvSpPr>
            <p:spPr>
              <a:xfrm rot="20461736">
                <a:off x="8340460" y="4021070"/>
                <a:ext cx="877405" cy="1701433"/>
              </a:xfrm>
              <a:prstGeom prst="downArrow">
                <a:avLst/>
              </a:prstGeom>
              <a:solidFill>
                <a:srgbClr val="2B0A3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Less time</a:t>
                </a: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4A1672F-A0AE-4F86-A41D-50B0DFE87D16}"/>
                </a:ext>
              </a:extLst>
            </p:cNvPr>
            <p:cNvSpPr txBox="1"/>
            <p:nvPr/>
          </p:nvSpPr>
          <p:spPr>
            <a:xfrm rot="21179285">
              <a:off x="5423824" y="5600955"/>
              <a:ext cx="2247764" cy="433993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lvl="0">
                <a:lnSpc>
                  <a:spcPts val="2400"/>
                </a:lnSpc>
                <a:defRPr/>
              </a:pPr>
              <a:r>
                <a:rPr lang="en-US">
                  <a:solidFill>
                    <a:srgbClr val="2B0A3D"/>
                  </a:solidFill>
                  <a:latin typeface="+mj-lt"/>
                </a:rPr>
                <a:t>CloudBoost Library</a:t>
              </a: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B0A3D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44" name="Arrow: Down 43">
            <a:extLst>
              <a:ext uri="{FF2B5EF4-FFF2-40B4-BE49-F238E27FC236}">
                <a16:creationId xmlns:a16="http://schemas.microsoft.com/office/drawing/2014/main" id="{D9B3668E-D85D-488A-9610-E43947451B99}"/>
              </a:ext>
            </a:extLst>
          </p:cNvPr>
          <p:cNvSpPr/>
          <p:nvPr/>
        </p:nvSpPr>
        <p:spPr>
          <a:xfrm rot="10800000">
            <a:off x="255485" y="3717032"/>
            <a:ext cx="1594800" cy="3151142"/>
          </a:xfrm>
          <a:prstGeom prst="downArrow">
            <a:avLst/>
          </a:prstGeom>
          <a:solidFill>
            <a:srgbClr val="2B0A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nterprise readiness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0266156"/>
      </p:ext>
    </p:extLst>
  </p:cSld>
  <p:clrMapOvr>
    <a:masterClrMapping/>
  </p:clrMapOvr>
  <p:transition spd="slow" advClick="0" advTm="20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1C7F254-0194-49A2-9A7E-0F0641FC7FBD}"/>
              </a:ext>
            </a:extLst>
          </p:cNvPr>
          <p:cNvSpPr/>
          <p:nvPr/>
        </p:nvSpPr>
        <p:spPr>
          <a:xfrm>
            <a:off x="7802" y="3212976"/>
            <a:ext cx="12184198" cy="2730166"/>
          </a:xfrm>
          <a:prstGeom prst="rect">
            <a:avLst/>
          </a:prstGeom>
          <a:solidFill>
            <a:srgbClr val="0070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1683" tIns="65842" rIns="131683" bIns="6584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A96B012-1BEC-424F-A2CC-565361446C1C}"/>
              </a:ext>
            </a:extLst>
          </p:cNvPr>
          <p:cNvSpPr/>
          <p:nvPr/>
        </p:nvSpPr>
        <p:spPr>
          <a:xfrm>
            <a:off x="-7055" y="599255"/>
            <a:ext cx="12192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0070AD"/>
              </a:buClr>
            </a:pPr>
            <a:r>
              <a:rPr lang="en-US" sz="40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Sogeti CloudBoost Libra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16475E-1C53-4589-85FA-784B86F139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63352" y="101054"/>
            <a:ext cx="1744604" cy="264379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8832064-01F9-4629-AB6D-8AB02F33D870}"/>
              </a:ext>
            </a:extLst>
          </p:cNvPr>
          <p:cNvSpPr/>
          <p:nvPr/>
        </p:nvSpPr>
        <p:spPr>
          <a:xfrm>
            <a:off x="119336" y="3346020"/>
            <a:ext cx="2880000" cy="22585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en-GB" sz="1600" b="1">
                <a:solidFill>
                  <a:schemeClr val="bg1"/>
                </a:solidFill>
              </a:rPr>
              <a:t>Infra as Code</a:t>
            </a:r>
            <a:r>
              <a:rPr lang="en-GB" sz="1600">
                <a:solidFill>
                  <a:schemeClr val="bg1"/>
                </a:solidFill>
              </a:rPr>
              <a:t>, written in ARM and Terraform written for the most Cloud resources of Azure and AW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F0B7EC-D8FC-495C-B50B-8F5996BFDE0C}"/>
              </a:ext>
            </a:extLst>
          </p:cNvPr>
          <p:cNvSpPr/>
          <p:nvPr/>
        </p:nvSpPr>
        <p:spPr>
          <a:xfrm>
            <a:off x="3071665" y="3346020"/>
            <a:ext cx="2880000" cy="22585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en-GB" sz="1600" b="1">
                <a:solidFill>
                  <a:schemeClr val="bg1"/>
                </a:solidFill>
              </a:rPr>
              <a:t>Config as Code</a:t>
            </a:r>
            <a:r>
              <a:rPr lang="en-GB" sz="1600">
                <a:solidFill>
                  <a:schemeClr val="bg1"/>
                </a:solidFill>
              </a:rPr>
              <a:t>, for Windows and Linux OS in PowerShell DSC and Ansible for most machine configurations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3AEA34-6A29-474F-8986-2E0F1235B624}"/>
              </a:ext>
            </a:extLst>
          </p:cNvPr>
          <p:cNvSpPr/>
          <p:nvPr/>
        </p:nvSpPr>
        <p:spPr>
          <a:xfrm>
            <a:off x="6168007" y="3346019"/>
            <a:ext cx="2880000" cy="22585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en-GB" sz="1600" b="1">
                <a:solidFill>
                  <a:schemeClr val="bg1"/>
                </a:solidFill>
              </a:rPr>
              <a:t>Pipelines as Code </a:t>
            </a:r>
            <a:r>
              <a:rPr lang="en-GB" sz="1600">
                <a:solidFill>
                  <a:schemeClr val="bg1"/>
                </a:solidFill>
              </a:rPr>
              <a:t>to provision Cloud infrastructures on Azure and AWS for Azure Pipelines, GitLab and Jenki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5951204-A9B0-43C6-9F6F-1BDF1E63C483}"/>
              </a:ext>
            </a:extLst>
          </p:cNvPr>
          <p:cNvSpPr/>
          <p:nvPr/>
        </p:nvSpPr>
        <p:spPr>
          <a:xfrm>
            <a:off x="2031254" y="1184187"/>
            <a:ext cx="8129492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en-GB">
                <a:solidFill>
                  <a:schemeClr val="tx2"/>
                </a:solidFill>
              </a:rPr>
              <a:t>What is in the GIT repo and what can you do with it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DE7E9D6-5808-47A3-B1DE-F5B681CA3C3A}"/>
              </a:ext>
            </a:extLst>
          </p:cNvPr>
          <p:cNvSpPr/>
          <p:nvPr/>
        </p:nvSpPr>
        <p:spPr>
          <a:xfrm>
            <a:off x="9120336" y="3357402"/>
            <a:ext cx="2880000" cy="22585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en-US" sz="1600" b="1">
                <a:solidFill>
                  <a:schemeClr val="bg1"/>
                </a:solidFill>
              </a:rPr>
              <a:t>Practices</a:t>
            </a:r>
            <a:r>
              <a:rPr lang="en-US" sz="1600">
                <a:solidFill>
                  <a:schemeClr val="bg1"/>
                </a:solidFill>
              </a:rPr>
              <a:t>, Way of Working, Checklist and guidelines to maximize the benefits and work with Cloud.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D00669E-EF7A-41F5-853F-86DF98BFE118}"/>
              </a:ext>
            </a:extLst>
          </p:cNvPr>
          <p:cNvCxnSpPr>
            <a:cxnSpLocks/>
            <a:endCxn id="30" idx="7"/>
          </p:cNvCxnSpPr>
          <p:nvPr/>
        </p:nvCxnSpPr>
        <p:spPr>
          <a:xfrm flipH="1" flipV="1">
            <a:off x="1489588" y="2993917"/>
            <a:ext cx="7" cy="351235"/>
          </a:xfrm>
          <a:prstGeom prst="line">
            <a:avLst/>
          </a:prstGeom>
          <a:ln w="38100" cap="rnd">
            <a:solidFill>
              <a:srgbClr val="FF632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5821B08-A0B9-499C-A5C3-DAAA5CE474EF}"/>
              </a:ext>
            </a:extLst>
          </p:cNvPr>
          <p:cNvGrpSpPr/>
          <p:nvPr/>
        </p:nvGrpSpPr>
        <p:grpSpPr>
          <a:xfrm>
            <a:off x="1310059" y="2557169"/>
            <a:ext cx="346574" cy="369331"/>
            <a:chOff x="1659112" y="3719469"/>
            <a:chExt cx="273190" cy="237830"/>
          </a:xfrm>
        </p:grpSpPr>
        <p:sp>
          <p:nvSpPr>
            <p:cNvPr id="30" name="Teardrop 29">
              <a:extLst>
                <a:ext uri="{FF2B5EF4-FFF2-40B4-BE49-F238E27FC236}">
                  <a16:creationId xmlns:a16="http://schemas.microsoft.com/office/drawing/2014/main" id="{598CB2E5-548C-4128-8CE6-1AF46C6CE943}"/>
                </a:ext>
              </a:extLst>
            </p:cNvPr>
            <p:cNvSpPr/>
            <p:nvPr/>
          </p:nvSpPr>
          <p:spPr>
            <a:xfrm rot="8100000">
              <a:off x="1666769" y="3736703"/>
              <a:ext cx="265533" cy="219449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0EF9603-741B-4582-91F0-41E82E293CC7}"/>
                </a:ext>
              </a:extLst>
            </p:cNvPr>
            <p:cNvSpPr txBox="1"/>
            <p:nvPr/>
          </p:nvSpPr>
          <p:spPr>
            <a:xfrm>
              <a:off x="1659112" y="3719469"/>
              <a:ext cx="261814" cy="2378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>
                  <a:solidFill>
                    <a:schemeClr val="bg1"/>
                  </a:solidFill>
                </a:rPr>
                <a:t>1</a:t>
              </a:r>
              <a:endParaRPr lang="en-GB">
                <a:solidFill>
                  <a:schemeClr val="bg1"/>
                </a:solidFill>
              </a:endParaRPr>
            </a:p>
          </p:txBody>
        </p:sp>
      </p:grp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7CB40E2-4EFA-4E55-A764-B269ED5A08D7}"/>
              </a:ext>
            </a:extLst>
          </p:cNvPr>
          <p:cNvCxnSpPr>
            <a:cxnSpLocks/>
            <a:endCxn id="37" idx="7"/>
          </p:cNvCxnSpPr>
          <p:nvPr/>
        </p:nvCxnSpPr>
        <p:spPr>
          <a:xfrm flipH="1" flipV="1">
            <a:off x="4522808" y="2994784"/>
            <a:ext cx="7" cy="351235"/>
          </a:xfrm>
          <a:prstGeom prst="line">
            <a:avLst/>
          </a:prstGeom>
          <a:ln w="38100" cap="rnd">
            <a:solidFill>
              <a:srgbClr val="FF632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826E5C6-056C-4B3D-9105-F21F7EB08A2A}"/>
              </a:ext>
            </a:extLst>
          </p:cNvPr>
          <p:cNvGrpSpPr/>
          <p:nvPr/>
        </p:nvGrpSpPr>
        <p:grpSpPr>
          <a:xfrm>
            <a:off x="4343279" y="2558036"/>
            <a:ext cx="346574" cy="369331"/>
            <a:chOff x="1659112" y="3719469"/>
            <a:chExt cx="273190" cy="237830"/>
          </a:xfrm>
        </p:grpSpPr>
        <p:sp>
          <p:nvSpPr>
            <p:cNvPr id="37" name="Teardrop 36">
              <a:extLst>
                <a:ext uri="{FF2B5EF4-FFF2-40B4-BE49-F238E27FC236}">
                  <a16:creationId xmlns:a16="http://schemas.microsoft.com/office/drawing/2014/main" id="{472E2F82-AA23-4551-B905-080644357EF7}"/>
                </a:ext>
              </a:extLst>
            </p:cNvPr>
            <p:cNvSpPr/>
            <p:nvPr/>
          </p:nvSpPr>
          <p:spPr>
            <a:xfrm rot="8100000">
              <a:off x="1666769" y="3736703"/>
              <a:ext cx="265533" cy="219449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2DDB56B-6EC3-493E-AD60-2440F8409D2D}"/>
                </a:ext>
              </a:extLst>
            </p:cNvPr>
            <p:cNvSpPr txBox="1"/>
            <p:nvPr/>
          </p:nvSpPr>
          <p:spPr>
            <a:xfrm>
              <a:off x="1659112" y="3719469"/>
              <a:ext cx="261814" cy="2378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>
                  <a:solidFill>
                    <a:schemeClr val="bg1"/>
                  </a:solidFill>
                </a:rPr>
                <a:t>2</a:t>
              </a:r>
              <a:endParaRPr lang="en-GB">
                <a:solidFill>
                  <a:schemeClr val="bg1"/>
                </a:solidFill>
              </a:endParaRPr>
            </a:p>
          </p:txBody>
        </p:sp>
      </p:grp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FC16079-D76C-4743-85DD-8E2003054E6E}"/>
              </a:ext>
            </a:extLst>
          </p:cNvPr>
          <p:cNvCxnSpPr>
            <a:cxnSpLocks/>
            <a:endCxn id="41" idx="7"/>
          </p:cNvCxnSpPr>
          <p:nvPr/>
        </p:nvCxnSpPr>
        <p:spPr>
          <a:xfrm flipH="1" flipV="1">
            <a:off x="7641563" y="2967887"/>
            <a:ext cx="7" cy="351235"/>
          </a:xfrm>
          <a:prstGeom prst="line">
            <a:avLst/>
          </a:prstGeom>
          <a:ln w="38100" cap="rnd">
            <a:solidFill>
              <a:srgbClr val="FF632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DDCA42E-22EE-449A-81C9-6D69B5E5CA02}"/>
              </a:ext>
            </a:extLst>
          </p:cNvPr>
          <p:cNvGrpSpPr/>
          <p:nvPr/>
        </p:nvGrpSpPr>
        <p:grpSpPr>
          <a:xfrm>
            <a:off x="7462034" y="2531139"/>
            <a:ext cx="346574" cy="369331"/>
            <a:chOff x="1659112" y="3719469"/>
            <a:chExt cx="273190" cy="237830"/>
          </a:xfrm>
        </p:grpSpPr>
        <p:sp>
          <p:nvSpPr>
            <p:cNvPr id="41" name="Teardrop 40">
              <a:extLst>
                <a:ext uri="{FF2B5EF4-FFF2-40B4-BE49-F238E27FC236}">
                  <a16:creationId xmlns:a16="http://schemas.microsoft.com/office/drawing/2014/main" id="{DDDCF132-E064-4A24-A960-DED2801B99D7}"/>
                </a:ext>
              </a:extLst>
            </p:cNvPr>
            <p:cNvSpPr/>
            <p:nvPr/>
          </p:nvSpPr>
          <p:spPr>
            <a:xfrm rot="8100000">
              <a:off x="1666769" y="3736703"/>
              <a:ext cx="265533" cy="219449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1771A82-C1A6-47E9-A1A5-634D298F1AFA}"/>
                </a:ext>
              </a:extLst>
            </p:cNvPr>
            <p:cNvSpPr txBox="1"/>
            <p:nvPr/>
          </p:nvSpPr>
          <p:spPr>
            <a:xfrm>
              <a:off x="1659112" y="3719469"/>
              <a:ext cx="261814" cy="2378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>
                  <a:solidFill>
                    <a:schemeClr val="bg1"/>
                  </a:solidFill>
                </a:rPr>
                <a:t>3</a:t>
              </a:r>
              <a:endParaRPr lang="en-GB">
                <a:solidFill>
                  <a:schemeClr val="bg1"/>
                </a:solidFill>
              </a:endParaRPr>
            </a:p>
          </p:txBody>
        </p:sp>
      </p:grp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29E5B72-CB91-494C-895A-F31014208F93}"/>
              </a:ext>
            </a:extLst>
          </p:cNvPr>
          <p:cNvCxnSpPr>
            <a:cxnSpLocks/>
            <a:endCxn id="45" idx="7"/>
          </p:cNvCxnSpPr>
          <p:nvPr/>
        </p:nvCxnSpPr>
        <p:spPr>
          <a:xfrm flipH="1" flipV="1">
            <a:off x="10519338" y="2988722"/>
            <a:ext cx="7" cy="351235"/>
          </a:xfrm>
          <a:prstGeom prst="line">
            <a:avLst/>
          </a:prstGeom>
          <a:ln w="38100" cap="rnd">
            <a:solidFill>
              <a:srgbClr val="FF632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9EB34F9-9ECD-4638-83E1-4D90BAAFD10A}"/>
              </a:ext>
            </a:extLst>
          </p:cNvPr>
          <p:cNvGrpSpPr/>
          <p:nvPr/>
        </p:nvGrpSpPr>
        <p:grpSpPr>
          <a:xfrm>
            <a:off x="10339809" y="2551974"/>
            <a:ext cx="346574" cy="369331"/>
            <a:chOff x="1659112" y="3719469"/>
            <a:chExt cx="273190" cy="237830"/>
          </a:xfrm>
        </p:grpSpPr>
        <p:sp>
          <p:nvSpPr>
            <p:cNvPr id="45" name="Teardrop 44">
              <a:extLst>
                <a:ext uri="{FF2B5EF4-FFF2-40B4-BE49-F238E27FC236}">
                  <a16:creationId xmlns:a16="http://schemas.microsoft.com/office/drawing/2014/main" id="{CA7202AA-141E-4EA2-A3C3-1DD4CEB36DD5}"/>
                </a:ext>
              </a:extLst>
            </p:cNvPr>
            <p:cNvSpPr/>
            <p:nvPr/>
          </p:nvSpPr>
          <p:spPr>
            <a:xfrm rot="8100000">
              <a:off x="1666769" y="3736703"/>
              <a:ext cx="265533" cy="219449"/>
            </a:xfrm>
            <a:prstGeom prst="teardrop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E10C1B2-B490-43D7-9EBC-AF099D3FC532}"/>
                </a:ext>
              </a:extLst>
            </p:cNvPr>
            <p:cNvSpPr txBox="1"/>
            <p:nvPr/>
          </p:nvSpPr>
          <p:spPr>
            <a:xfrm>
              <a:off x="1659112" y="3719469"/>
              <a:ext cx="261814" cy="2378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>
                  <a:solidFill>
                    <a:schemeClr val="bg1"/>
                  </a:solidFill>
                </a:rPr>
                <a:t>4</a:t>
              </a:r>
              <a:endParaRPr lang="en-GB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2370505"/>
      </p:ext>
    </p:extLst>
  </p:cSld>
  <p:clrMapOvr>
    <a:masterClrMapping/>
  </p:clrMapOvr>
  <p:transition spd="slow" advClick="0" advTm="20000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ECD975F-8611-4F45-B2EA-08489D48C1AA}"/>
              </a:ext>
            </a:extLst>
          </p:cNvPr>
          <p:cNvSpPr/>
          <p:nvPr/>
        </p:nvSpPr>
        <p:spPr>
          <a:xfrm>
            <a:off x="-7055" y="599255"/>
            <a:ext cx="12192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0070AD"/>
              </a:buClr>
            </a:pPr>
            <a:r>
              <a:rPr lang="en-US" sz="40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As Code</a:t>
            </a:r>
            <a:r>
              <a:rPr lang="en-US" sz="4000"/>
              <a:t> paradigm</a:t>
            </a:r>
            <a:r>
              <a:rPr lang="en-US" sz="4000">
                <a:solidFill>
                  <a:schemeClr val="tx2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623C94-9FF4-4CDE-81AF-503DC64E670E}"/>
              </a:ext>
            </a:extLst>
          </p:cNvPr>
          <p:cNvSpPr/>
          <p:nvPr/>
        </p:nvSpPr>
        <p:spPr>
          <a:xfrm>
            <a:off x="695400" y="2766143"/>
            <a:ext cx="109452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The ‘as code’ paradigm is about being able to reproduce and/or restore a full environment within minutes based on recipes and automation, managed as code.</a:t>
            </a:r>
            <a:endParaRPr lang="en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2E52CB-6BB3-4019-B1D3-33BDA36A47CA}"/>
              </a:ext>
            </a:extLst>
          </p:cNvPr>
          <p:cNvSpPr/>
          <p:nvPr/>
        </p:nvSpPr>
        <p:spPr>
          <a:xfrm>
            <a:off x="695400" y="3717032"/>
            <a:ext cx="105851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L" sz="1400">
                <a:hlinkClick r:id="rId2"/>
              </a:rPr>
              <a:t>https://martinfowler.com/bliki/InfrastructureAsCode.html</a:t>
            </a:r>
            <a:r>
              <a:rPr lang="en-US" sz="1400"/>
              <a:t> </a:t>
            </a:r>
            <a:endParaRPr lang="en-NL" sz="1400"/>
          </a:p>
        </p:txBody>
      </p:sp>
    </p:spTree>
    <p:extLst>
      <p:ext uri="{BB962C8B-B14F-4D97-AF65-F5344CB8AC3E}">
        <p14:creationId xmlns:p14="http://schemas.microsoft.com/office/powerpoint/2010/main" val="4065173967"/>
      </p:ext>
    </p:extLst>
  </p:cSld>
  <p:clrMapOvr>
    <a:masterClrMapping/>
  </p:clrMapOvr>
  <p:transition spd="slow" advClick="0" advTm="20000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ogeti-ppt-template.pptx" id="{74CBC20A-5C78-4BA8-A195-24C07BE40C62}" vid="{37CBF029-434C-46BA-9DFA-AAAA65EBCFDD}"/>
    </a:ext>
  </a:extLst>
</a:theme>
</file>

<file path=ppt/theme/theme2.xml><?xml version="1.0" encoding="utf-8"?>
<a:theme xmlns:a="http://schemas.openxmlformats.org/drawingml/2006/main" name="Cover option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D622C579-F77D-488D-92D0-B4D2EF913E1E}"/>
    </a:ext>
  </a:extLst>
</a:theme>
</file>

<file path=ppt/theme/theme3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3FE84DFB-BE20-4F40-A922-BBAE6817D92D}"/>
    </a:ext>
  </a:extLst>
</a:theme>
</file>

<file path=ppt/theme/theme4.xml><?xml version="1.0" encoding="utf-8"?>
<a:theme xmlns:a="http://schemas.openxmlformats.org/drawingml/2006/main" name="Closing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3093F08A-50AC-4B6E-88A0-3C7666192B71}"/>
    </a:ext>
  </a:extLst>
</a:theme>
</file>

<file path=ppt/theme/theme5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C6DC27965430498A97216F3E468235" ma:contentTypeVersion="6" ma:contentTypeDescription="Create a new document." ma:contentTypeScope="" ma:versionID="8953bea525e8c3b454c3f21f53628df9">
  <xsd:schema xmlns:xsd="http://www.w3.org/2001/XMLSchema" xmlns:xs="http://www.w3.org/2001/XMLSchema" xmlns:p="http://schemas.microsoft.com/office/2006/metadata/properties" xmlns:ns2="4269294d-5a2f-44c5-83fd-fa2cc2840b9a" xmlns:ns3="30895200-da44-459a-b1a4-0b8d6caea00e" targetNamespace="http://schemas.microsoft.com/office/2006/metadata/properties" ma:root="true" ma:fieldsID="bfc90cb7d51b5d9a3a7e62d6ef3ec5b1" ns2:_="" ns3:_="">
    <xsd:import namespace="4269294d-5a2f-44c5-83fd-fa2cc2840b9a"/>
    <xsd:import namespace="30895200-da44-459a-b1a4-0b8d6caea00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69294d-5a2f-44c5-83fd-fa2cc2840b9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895200-da44-459a-b1a4-0b8d6caea0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9A864D-F360-4ABB-AF06-77382F673B50}">
  <ds:schemaRefs>
    <ds:schemaRef ds:uri="30895200-da44-459a-b1a4-0b8d6caea00e"/>
    <ds:schemaRef ds:uri="4269294d-5a2f-44c5-83fd-fa2cc2840b9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5F76601-D06B-489A-AE97-5304A8EC334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C31BEF-3B2B-45BB-92DC-2A751B05B6B2}">
  <ds:schemaRefs>
    <ds:schemaRef ds:uri="30895200-da44-459a-b1a4-0b8d6caea00e"/>
    <ds:schemaRef ds:uri="4269294d-5a2f-44c5-83fd-fa2cc2840b9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gnite Sogeti Cloudification and Thinkubator</Template>
  <Application>Microsoft Office PowerPoint</Application>
  <PresentationFormat>Widescreen</PresentationFormat>
  <Slides>21</Slides>
  <Notes>3</Notes>
  <HiddenSlides>0</HiddenSlide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Content Layouts</vt:lpstr>
      <vt:lpstr>Cover options</vt:lpstr>
      <vt:lpstr>Section slides</vt:lpstr>
      <vt:lpstr>Closing options</vt:lpstr>
      <vt:lpstr>5-50203_Microsoft_Ignite_Template</vt:lpstr>
      <vt:lpstr>Sogeti CloudBoost Library </vt:lpstr>
      <vt:lpstr>The training program</vt:lpstr>
      <vt:lpstr>PowerPoint Presentation</vt:lpstr>
      <vt:lpstr>PowerPoint Presentation</vt:lpstr>
      <vt:lpstr>PowerPoint Presentation</vt:lpstr>
      <vt:lpstr>Cloud Adoption</vt:lpstr>
      <vt:lpstr>CloudBoost Libra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eded knowledge</vt:lpstr>
      <vt:lpstr>Homework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Migrate</dc:title>
  <dc:subject>Powerpoint template</dc:subject>
  <dc:creator>Clemens Reijnen</dc:creator>
  <cp:revision>1</cp:revision>
  <dcterms:created xsi:type="dcterms:W3CDTF">2018-09-19T09:02:14Z</dcterms:created>
  <dcterms:modified xsi:type="dcterms:W3CDTF">2019-02-26T11:2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C6DC27965430498A97216F3E468235</vt:lpwstr>
  </property>
  <property fmtid="{D5CDD505-2E9C-101B-9397-08002B2CF9AE}" pid="3" name="AuthorIds_UIVersion_512">
    <vt:lpwstr>8</vt:lpwstr>
  </property>
</Properties>
</file>